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1"/>
  </p:notesMasterIdLst>
  <p:sldIdLst>
    <p:sldId id="257" r:id="rId5"/>
    <p:sldId id="305" r:id="rId6"/>
    <p:sldId id="323" r:id="rId7"/>
    <p:sldId id="324" r:id="rId8"/>
    <p:sldId id="306" r:id="rId9"/>
    <p:sldId id="297" r:id="rId10"/>
    <p:sldId id="298" r:id="rId11"/>
    <p:sldId id="284" r:id="rId12"/>
    <p:sldId id="307" r:id="rId13"/>
    <p:sldId id="299" r:id="rId14"/>
    <p:sldId id="308" r:id="rId15"/>
    <p:sldId id="319" r:id="rId16"/>
    <p:sldId id="320" r:id="rId17"/>
    <p:sldId id="322" r:id="rId18"/>
    <p:sldId id="300" r:id="rId19"/>
    <p:sldId id="273" r:id="rId20"/>
    <p:sldId id="274" r:id="rId21"/>
    <p:sldId id="289" r:id="rId22"/>
    <p:sldId id="292" r:id="rId23"/>
    <p:sldId id="309" r:id="rId24"/>
    <p:sldId id="310" r:id="rId25"/>
    <p:sldId id="301" r:id="rId26"/>
    <p:sldId id="312" r:id="rId27"/>
    <p:sldId id="321" r:id="rId28"/>
    <p:sldId id="311" r:id="rId29"/>
    <p:sldId id="293" r:id="rId30"/>
    <p:sldId id="313" r:id="rId31"/>
    <p:sldId id="314" r:id="rId32"/>
    <p:sldId id="303" r:id="rId33"/>
    <p:sldId id="315" r:id="rId34"/>
    <p:sldId id="295" r:id="rId35"/>
    <p:sldId id="304" r:id="rId36"/>
    <p:sldId id="318" r:id="rId37"/>
    <p:sldId id="317" r:id="rId38"/>
    <p:sldId id="316" r:id="rId39"/>
    <p:sldId id="266" r:id="rId40"/>
  </p:sldIdLst>
  <p:sldSz cx="12192000" cy="6858000"/>
  <p:notesSz cx="6858000"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3366CC"/>
    <a:srgbClr val="003399"/>
    <a:srgbClr val="0099FF"/>
    <a:srgbClr val="0066FF"/>
    <a:srgbClr val="CCFF99"/>
    <a:srgbClr val="3399FF"/>
    <a:srgbClr val="0066CC"/>
    <a:srgbClr val="336699"/>
    <a:srgbClr val="33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73" d="100"/>
          <a:sy n="73" d="100"/>
        </p:scale>
        <p:origin x="54" y="55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Количество геодезических </a:t>
            </a:r>
            <a:r>
              <a:rPr lang="ru-RU" dirty="0" smtClean="0"/>
              <a:t>пунктов,</a:t>
            </a:r>
            <a:r>
              <a:rPr lang="ru-RU" baseline="0" dirty="0" smtClean="0"/>
              <a:t> </a:t>
            </a:r>
            <a:r>
              <a:rPr lang="ru-RU" baseline="0" dirty="0" err="1" smtClean="0"/>
              <a:t>шт</a:t>
            </a:r>
            <a:r>
              <a:rPr lang="ru-RU" baseline="0" dirty="0" smtClean="0"/>
              <a:t> (%)</a:t>
            </a:r>
            <a:endParaRPr lang="ru-RU" dirty="0"/>
          </a:p>
        </c:rich>
      </c:tx>
      <c:layout>
        <c:manualLayout>
          <c:xMode val="edge"/>
          <c:yMode val="edge"/>
          <c:x val="8.2567039259952638E-2"/>
          <c:y val="7.8534015225704898E-3"/>
        </c:manualLayout>
      </c:layout>
      <c:overlay val="0"/>
    </c:title>
    <c:autoTitleDeleted val="0"/>
    <c:view3D>
      <c:rotX val="30"/>
      <c:rotY val="0"/>
      <c:rAngAx val="0"/>
    </c:view3D>
    <c:floor>
      <c:thickness val="0"/>
    </c:floor>
    <c:sideWall>
      <c:thickness val="0"/>
    </c:sideWall>
    <c:backWall>
      <c:thickness val="0"/>
    </c:backWall>
    <c:plotArea>
      <c:layout>
        <c:manualLayout>
          <c:layoutTarget val="inner"/>
          <c:xMode val="edge"/>
          <c:yMode val="edge"/>
          <c:x val="4.951048951048951E-2"/>
          <c:y val="0.22668936251610616"/>
          <c:w val="0.56960483086467339"/>
          <c:h val="0.7399066785037971"/>
        </c:manualLayout>
      </c:layout>
      <c:pie3DChart>
        <c:varyColors val="1"/>
        <c:ser>
          <c:idx val="0"/>
          <c:order val="0"/>
          <c:tx>
            <c:strRef>
              <c:f>Лист1!$B$1</c:f>
              <c:strCache>
                <c:ptCount val="1"/>
                <c:pt idx="0">
                  <c:v>Количество геодезических пунктов, шт.</c:v>
                </c:pt>
              </c:strCache>
            </c:strRef>
          </c:tx>
          <c:dLbls>
            <c:dLbl>
              <c:idx val="0"/>
              <c:layout>
                <c:manualLayout>
                  <c:x val="9.2181047299157541E-3"/>
                  <c:y val="-6.0600432740975235E-2"/>
                </c:manualLayout>
              </c:layout>
              <c:tx>
                <c:rich>
                  <a:bodyPr/>
                  <a:lstStyle/>
                  <a:p>
                    <a:r>
                      <a:rPr lang="ru-RU" dirty="0"/>
                      <a:t>3; 0</a:t>
                    </a:r>
                    <a:r>
                      <a:rPr lang="ru-RU" dirty="0" smtClean="0"/>
                      <a:t>% ВГС</a:t>
                    </a:r>
                    <a:endParaRPr lang="ru-RU" dirty="0"/>
                  </a:p>
                </c:rich>
              </c:tx>
              <c:showLegendKey val="0"/>
              <c:showVal val="1"/>
              <c:showCatName val="0"/>
              <c:showSerName val="0"/>
              <c:showPercent val="1"/>
              <c:showBubbleSize val="0"/>
              <c:extLst>
                <c:ext xmlns:c15="http://schemas.microsoft.com/office/drawing/2012/chart" uri="{CE6537A1-D6FC-4f65-9D91-7224C49458BB}">
                  <c15:layout/>
                </c:ext>
              </c:extLst>
            </c:dLbl>
            <c:dLbl>
              <c:idx val="1"/>
              <c:layout>
                <c:manualLayout>
                  <c:x val="0.15862672760310556"/>
                  <c:y val="-4.9474780584000372E-2"/>
                </c:manualLayout>
              </c:layout>
              <c:tx>
                <c:rich>
                  <a:bodyPr/>
                  <a:lstStyle/>
                  <a:p>
                    <a:r>
                      <a:rPr lang="ru-RU" dirty="0"/>
                      <a:t>75; 2</a:t>
                    </a:r>
                    <a:r>
                      <a:rPr lang="ru-RU" dirty="0" smtClean="0"/>
                      <a:t>% СГС-1</a:t>
                    </a:r>
                    <a:endParaRPr lang="ru-RU" dirty="0"/>
                  </a:p>
                </c:rich>
              </c:tx>
              <c:showLegendKey val="0"/>
              <c:showVal val="1"/>
              <c:showCatName val="0"/>
              <c:showSerName val="0"/>
              <c:showPercent val="1"/>
              <c:showBubbleSize val="0"/>
              <c:extLst>
                <c:ext xmlns:c15="http://schemas.microsoft.com/office/drawing/2012/chart" uri="{CE6537A1-D6FC-4f65-9D91-7224C49458BB}">
                  <c15:layout/>
                </c:ext>
              </c:extLst>
            </c:dLbl>
            <c:dLbl>
              <c:idx val="2"/>
              <c:layout>
                <c:manualLayout>
                  <c:x val="-0.20657994236734395"/>
                  <c:y val="-1.6466789696419654E-2"/>
                </c:manualLayout>
              </c:layout>
              <c:tx>
                <c:rich>
                  <a:bodyPr/>
                  <a:lstStyle/>
                  <a:p>
                    <a:r>
                      <a:rPr lang="ru-RU" dirty="0"/>
                      <a:t>1769; 45</a:t>
                    </a:r>
                    <a:r>
                      <a:rPr lang="ru-RU" dirty="0" smtClean="0"/>
                      <a:t>% ГГС </a:t>
                    </a:r>
                    <a:br>
                      <a:rPr lang="ru-RU" dirty="0" smtClean="0"/>
                    </a:br>
                    <a:r>
                      <a:rPr lang="ru-RU" dirty="0" smtClean="0"/>
                      <a:t>1-4 </a:t>
                    </a:r>
                    <a:r>
                      <a:rPr lang="ru-RU" dirty="0" err="1" smtClean="0"/>
                      <a:t>кл</a:t>
                    </a:r>
                    <a:r>
                      <a:rPr lang="ru-RU" dirty="0" smtClean="0"/>
                      <a:t>.</a:t>
                    </a:r>
                    <a:endParaRPr lang="ru-RU" dirty="0"/>
                  </a:p>
                </c:rich>
              </c:tx>
              <c:showLegendKey val="0"/>
              <c:showVal val="1"/>
              <c:showCatName val="0"/>
              <c:showSerName val="0"/>
              <c:showPercent val="1"/>
              <c:showBubbleSize val="0"/>
              <c:extLst>
                <c:ext xmlns:c15="http://schemas.microsoft.com/office/drawing/2012/chart" uri="{CE6537A1-D6FC-4f65-9D91-7224C49458BB}">
                  <c15:layout/>
                </c:ext>
              </c:extLst>
            </c:dLbl>
            <c:dLbl>
              <c:idx val="3"/>
              <c:layout>
                <c:manualLayout>
                  <c:x val="0.12976974469100452"/>
                  <c:y val="-1.7023948339871307E-3"/>
                </c:manualLayout>
              </c:layout>
              <c:tx>
                <c:rich>
                  <a:bodyPr/>
                  <a:lstStyle/>
                  <a:p>
                    <a:r>
                      <a:rPr lang="ru-RU" dirty="0"/>
                      <a:t>2083; 53</a:t>
                    </a:r>
                    <a:r>
                      <a:rPr lang="ru-RU" dirty="0" smtClean="0"/>
                      <a:t>% ГНС </a:t>
                    </a:r>
                    <a:br>
                      <a:rPr lang="ru-RU" dirty="0" smtClean="0"/>
                    </a:br>
                    <a:r>
                      <a:rPr lang="ru-RU" dirty="0" smtClean="0"/>
                      <a:t>1-2 </a:t>
                    </a:r>
                    <a:r>
                      <a:rPr lang="ru-RU" dirty="0" err="1" smtClean="0"/>
                      <a:t>кл</a:t>
                    </a:r>
                    <a:r>
                      <a:rPr lang="ru-RU" dirty="0" smtClean="0"/>
                      <a:t>.</a:t>
                    </a:r>
                    <a:endParaRPr lang="ru-RU" dirty="0"/>
                  </a:p>
                </c:rich>
              </c:tx>
              <c:showLegendKey val="0"/>
              <c:showVal val="1"/>
              <c:showCatName val="0"/>
              <c:showSerName val="0"/>
              <c:showPercent val="1"/>
              <c:showBubbleSize val="0"/>
              <c:extLst>
                <c:ext xmlns:c15="http://schemas.microsoft.com/office/drawing/2012/chart" uri="{CE6537A1-D6FC-4f65-9D91-7224C49458BB}">
                  <c15:layout/>
                </c:ext>
              </c:extLst>
            </c:dLbl>
            <c:dLbl>
              <c:idx val="4"/>
              <c:layout>
                <c:manualLayout>
                  <c:x val="-0.13472128920947818"/>
                  <c:y val="-1.4134473732433168E-2"/>
                </c:manualLayout>
              </c:layout>
              <c:tx>
                <c:rich>
                  <a:bodyPr/>
                  <a:lstStyle/>
                  <a:p>
                    <a:r>
                      <a:rPr lang="ru-RU" dirty="0"/>
                      <a:t>4; 0</a:t>
                    </a:r>
                    <a:r>
                      <a:rPr lang="ru-RU" dirty="0" smtClean="0"/>
                      <a:t>% </a:t>
                    </a:r>
                    <a:r>
                      <a:rPr lang="ru-RU" dirty="0" err="1" smtClean="0"/>
                      <a:t>ГГрС</a:t>
                    </a:r>
                    <a:endParaRPr lang="ru-RU" dirty="0"/>
                  </a:p>
                </c:rich>
              </c:tx>
              <c:showLegendKey val="0"/>
              <c:showVal val="1"/>
              <c:showCatName val="0"/>
              <c:showSerName val="0"/>
              <c:showPercent val="1"/>
              <c:showBubbleSize val="0"/>
              <c:extLst>
                <c:ext xmlns:c15="http://schemas.microsoft.com/office/drawing/2012/chart" uri="{CE6537A1-D6FC-4f65-9D91-7224C49458BB}">
                  <c15:layout/>
                </c:ext>
              </c:extLst>
            </c:dLbl>
            <c:spPr>
              <a:noFill/>
              <a:ln>
                <a:noFill/>
              </a:ln>
              <a:effectLst/>
            </c:spPr>
            <c:txPr>
              <a:bodyPr/>
              <a:lstStyle/>
              <a:p>
                <a:pPr>
                  <a:defRPr b="1">
                    <a:solidFill>
                      <a:srgbClr val="000000"/>
                    </a:solidFill>
                  </a:defRPr>
                </a:pPr>
                <a:endParaRPr lang="ru-RU"/>
              </a:p>
            </c:txPr>
            <c:showLegendKey val="0"/>
            <c:showVal val="1"/>
            <c:showCatName val="0"/>
            <c:showSerName val="0"/>
            <c:showPercent val="1"/>
            <c:showBubbleSize val="0"/>
            <c:showLeaderLines val="1"/>
            <c:extLst>
              <c:ext xmlns:c15="http://schemas.microsoft.com/office/drawing/2012/chart" uri="{CE6537A1-D6FC-4f65-9D91-7224C49458BB}"/>
            </c:extLst>
          </c:dLbls>
          <c:cat>
            <c:strRef>
              <c:f>Лист1!$A$2:$A$6</c:f>
              <c:strCache>
                <c:ptCount val="5"/>
                <c:pt idx="0">
                  <c:v>Высокоточная геодезическая сеть (ВГС)</c:v>
                </c:pt>
                <c:pt idx="1">
                  <c:v>Спутниковая геодезическая сеть 1 класса (СГС-1)</c:v>
                </c:pt>
                <c:pt idx="2">
                  <c:v>Государственная геодезическая сеть 1-4 кл. (ГГС)</c:v>
                </c:pt>
                <c:pt idx="3">
                  <c:v>Государственная нивелирная сеть 1-2 кл. (ГНС)</c:v>
                </c:pt>
                <c:pt idx="4">
                  <c:v>Государственная гравиметрическая сеть (ГГрС)</c:v>
                </c:pt>
              </c:strCache>
            </c:strRef>
          </c:cat>
          <c:val>
            <c:numRef>
              <c:f>Лист1!$B$2:$B$6</c:f>
              <c:numCache>
                <c:formatCode>General</c:formatCode>
                <c:ptCount val="5"/>
                <c:pt idx="0">
                  <c:v>3</c:v>
                </c:pt>
                <c:pt idx="1">
                  <c:v>75</c:v>
                </c:pt>
                <c:pt idx="2">
                  <c:v>1769</c:v>
                </c:pt>
                <c:pt idx="3">
                  <c:v>2083</c:v>
                </c:pt>
                <c:pt idx="4">
                  <c:v>4</c:v>
                </c:pt>
              </c:numCache>
            </c:numRef>
          </c:val>
        </c:ser>
        <c:ser>
          <c:idx val="1"/>
          <c:order val="1"/>
          <c:tx>
            <c:strRef>
              <c:f>Лист1!$C$1</c:f>
              <c:strCache>
                <c:ptCount val="1"/>
                <c:pt idx="0">
                  <c:v>Доля от общего количества геодезических пунктов, %</c:v>
                </c:pt>
              </c:strCache>
            </c:strRef>
          </c:tx>
          <c:cat>
            <c:strRef>
              <c:f>Лист1!$A$2:$A$6</c:f>
              <c:strCache>
                <c:ptCount val="5"/>
                <c:pt idx="0">
                  <c:v>Высокоточная геодезическая сеть (ВГС)</c:v>
                </c:pt>
                <c:pt idx="1">
                  <c:v>Спутниковая геодезическая сеть 1 класса (СГС-1)</c:v>
                </c:pt>
                <c:pt idx="2">
                  <c:v>Государственная геодезическая сеть 1-4 кл. (ГГС)</c:v>
                </c:pt>
                <c:pt idx="3">
                  <c:v>Государственная нивелирная сеть 1-2 кл. (ГНС)</c:v>
                </c:pt>
                <c:pt idx="4">
                  <c:v>Государственная гравиметрическая сеть (ГГрС)</c:v>
                </c:pt>
              </c:strCache>
            </c:strRef>
          </c:cat>
          <c:val>
            <c:numRef>
              <c:f>Лист1!$C$2:$C$6</c:f>
              <c:numCache>
                <c:formatCode>0.00%</c:formatCode>
                <c:ptCount val="5"/>
                <c:pt idx="0">
                  <c:v>7.6258261311642095E-4</c:v>
                </c:pt>
                <c:pt idx="1">
                  <c:v>1.9064565327910524E-2</c:v>
                </c:pt>
                <c:pt idx="2">
                  <c:v>0.44966954753431621</c:v>
                </c:pt>
                <c:pt idx="3" formatCode="0%">
                  <c:v>0.52948652770716831</c:v>
                </c:pt>
                <c:pt idx="4">
                  <c:v>1.0167768174885613E-3</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64648128774113023"/>
          <c:y val="0.18684046113689634"/>
          <c:w val="0.35235321109336853"/>
          <c:h val="0.66777205182585397"/>
        </c:manualLayout>
      </c:layout>
      <c:overlay val="0"/>
    </c:legend>
    <c:plotVisOnly val="1"/>
    <c:dispBlanksAs val="gap"/>
    <c:showDLblsOverMax val="0"/>
  </c:chart>
  <c:txPr>
    <a:bodyPr/>
    <a:lstStyle/>
    <a:p>
      <a:pPr>
        <a:defRPr sz="1800"/>
      </a:pPr>
      <a:endParaRPr lang="ru-RU"/>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1"/>
            <a:ext cx="2972547" cy="498008"/>
          </a:xfrm>
          <a:prstGeom prst="rect">
            <a:avLst/>
          </a:prstGeom>
        </p:spPr>
        <p:txBody>
          <a:bodyPr vert="horz" lIns="92052" tIns="46026" rIns="92052" bIns="46026" rtlCol="0"/>
          <a:lstStyle>
            <a:lvl1pPr algn="l">
              <a:defRPr sz="1200"/>
            </a:lvl1pPr>
          </a:lstStyle>
          <a:p>
            <a:endParaRPr lang="ru-RU"/>
          </a:p>
        </p:txBody>
      </p:sp>
      <p:sp>
        <p:nvSpPr>
          <p:cNvPr id="3" name="Дата 2"/>
          <p:cNvSpPr>
            <a:spLocks noGrp="1"/>
          </p:cNvSpPr>
          <p:nvPr>
            <p:ph type="dt" idx="1"/>
          </p:nvPr>
        </p:nvSpPr>
        <p:spPr>
          <a:xfrm>
            <a:off x="3883852" y="1"/>
            <a:ext cx="2972547" cy="498008"/>
          </a:xfrm>
          <a:prstGeom prst="rect">
            <a:avLst/>
          </a:prstGeom>
        </p:spPr>
        <p:txBody>
          <a:bodyPr vert="horz" lIns="92052" tIns="46026" rIns="92052" bIns="46026" rtlCol="0"/>
          <a:lstStyle>
            <a:lvl1pPr algn="r">
              <a:defRPr sz="1200"/>
            </a:lvl1pPr>
          </a:lstStyle>
          <a:p>
            <a:fld id="{472611B4-C757-43B3-85D6-442B5066A298}" type="datetimeFigureOut">
              <a:rPr lang="ru-RU" smtClean="0"/>
              <a:t>22.09.2022</a:t>
            </a:fld>
            <a:endParaRPr lang="ru-RU"/>
          </a:p>
        </p:txBody>
      </p:sp>
      <p:sp>
        <p:nvSpPr>
          <p:cNvPr id="4" name="Образ слайда 3"/>
          <p:cNvSpPr>
            <a:spLocks noGrp="1" noRot="1" noChangeAspect="1"/>
          </p:cNvSpPr>
          <p:nvPr>
            <p:ph type="sldImg" idx="2"/>
          </p:nvPr>
        </p:nvSpPr>
        <p:spPr>
          <a:xfrm>
            <a:off x="450850" y="1241425"/>
            <a:ext cx="5956300" cy="3349625"/>
          </a:xfrm>
          <a:prstGeom prst="rect">
            <a:avLst/>
          </a:prstGeom>
          <a:noFill/>
          <a:ln w="12700">
            <a:solidFill>
              <a:prstClr val="black"/>
            </a:solidFill>
          </a:ln>
        </p:spPr>
        <p:txBody>
          <a:bodyPr vert="horz" lIns="92052" tIns="46026" rIns="92052" bIns="46026" rtlCol="0" anchor="ctr"/>
          <a:lstStyle/>
          <a:p>
            <a:endParaRPr lang="ru-RU"/>
          </a:p>
        </p:txBody>
      </p:sp>
      <p:sp>
        <p:nvSpPr>
          <p:cNvPr id="5" name="Заметки 4"/>
          <p:cNvSpPr>
            <a:spLocks noGrp="1"/>
          </p:cNvSpPr>
          <p:nvPr>
            <p:ph type="body" sz="quarter" idx="3"/>
          </p:nvPr>
        </p:nvSpPr>
        <p:spPr>
          <a:xfrm>
            <a:off x="685480" y="4777367"/>
            <a:ext cx="5487041" cy="3909042"/>
          </a:xfrm>
          <a:prstGeom prst="rect">
            <a:avLst/>
          </a:prstGeom>
        </p:spPr>
        <p:txBody>
          <a:bodyPr vert="horz" lIns="92052" tIns="46026" rIns="92052" bIns="46026"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1" y="9428630"/>
            <a:ext cx="2972547" cy="498008"/>
          </a:xfrm>
          <a:prstGeom prst="rect">
            <a:avLst/>
          </a:prstGeom>
        </p:spPr>
        <p:txBody>
          <a:bodyPr vert="horz" lIns="92052" tIns="46026" rIns="92052" bIns="46026" rtlCol="0" anchor="b"/>
          <a:lstStyle>
            <a:lvl1pPr algn="l">
              <a:defRPr sz="1200"/>
            </a:lvl1pPr>
          </a:lstStyle>
          <a:p>
            <a:endParaRPr lang="ru-RU"/>
          </a:p>
        </p:txBody>
      </p:sp>
      <p:sp>
        <p:nvSpPr>
          <p:cNvPr id="7" name="Номер слайда 6"/>
          <p:cNvSpPr>
            <a:spLocks noGrp="1"/>
          </p:cNvSpPr>
          <p:nvPr>
            <p:ph type="sldNum" sz="quarter" idx="5"/>
          </p:nvPr>
        </p:nvSpPr>
        <p:spPr>
          <a:xfrm>
            <a:off x="3883852" y="9428630"/>
            <a:ext cx="2972547" cy="498008"/>
          </a:xfrm>
          <a:prstGeom prst="rect">
            <a:avLst/>
          </a:prstGeom>
        </p:spPr>
        <p:txBody>
          <a:bodyPr vert="horz" lIns="92052" tIns="46026" rIns="92052" bIns="46026" rtlCol="0" anchor="b"/>
          <a:lstStyle>
            <a:lvl1pPr algn="r">
              <a:defRPr sz="1200"/>
            </a:lvl1pPr>
          </a:lstStyle>
          <a:p>
            <a:fld id="{D5D24E75-DD56-40B0-BF3E-2BFF9DA064E9}" type="slidenum">
              <a:rPr lang="ru-RU" smtClean="0"/>
              <a:t>‹#›</a:t>
            </a:fld>
            <a:endParaRPr lang="ru-RU"/>
          </a:p>
        </p:txBody>
      </p:sp>
    </p:spTree>
    <p:extLst>
      <p:ext uri="{BB962C8B-B14F-4D97-AF65-F5344CB8AC3E}">
        <p14:creationId xmlns:p14="http://schemas.microsoft.com/office/powerpoint/2010/main" val="21775198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bg>
      <p:bgPr>
        <a:solidFill>
          <a:srgbClr val="FFFFFF"/>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xmlns="" id="{32F8EDCF-3979-41F7-BD55-BB5BBB9BBD4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100000"/>
                    </a14:imgEffect>
                    <a14:imgEffect>
                      <a14:brightnessContrast bright="-3000" contrast="43000"/>
                    </a14:imgEffect>
                  </a14:imgLayer>
                </a14:imgProps>
              </a:ext>
            </a:extLst>
          </a:blip>
          <a:stretch>
            <a:fillRect/>
          </a:stretch>
        </p:blipFill>
        <p:spPr>
          <a:xfrm>
            <a:off x="2468" y="0"/>
            <a:ext cx="12187067" cy="6858000"/>
          </a:xfrm>
          <a:prstGeom prst="rect">
            <a:avLst/>
          </a:prstGeom>
        </p:spPr>
      </p:pic>
      <p:sp>
        <p:nvSpPr>
          <p:cNvPr id="2" name="Title 1">
            <a:extLst>
              <a:ext uri="{FF2B5EF4-FFF2-40B4-BE49-F238E27FC236}">
                <a16:creationId xmlns:a16="http://schemas.microsoft.com/office/drawing/2014/main" xmlns="" id="{90602BA8-59C4-49CA-A80E-77E37E785FB7}"/>
              </a:ext>
            </a:extLst>
          </p:cNvPr>
          <p:cNvSpPr>
            <a:spLocks noGrp="1"/>
          </p:cNvSpPr>
          <p:nvPr>
            <p:ph type="ctrTitle"/>
          </p:nvPr>
        </p:nvSpPr>
        <p:spPr>
          <a:xfrm>
            <a:off x="379187" y="2004303"/>
            <a:ext cx="5716815" cy="2149314"/>
          </a:xfrm>
        </p:spPr>
        <p:txBody>
          <a:bodyPr anchor="t">
            <a:normAutofit/>
          </a:bodyPr>
          <a:lstStyle>
            <a:lvl1pPr algn="l">
              <a:defRPr sz="3600" b="1">
                <a:solidFill>
                  <a:srgbClr val="000000"/>
                </a:solidFill>
              </a:defRPr>
            </a:lvl1pPr>
          </a:lstStyle>
          <a:p>
            <a:r>
              <a:rPr lang="en-US" dirty="0"/>
              <a:t>Click to edit Master title style</a:t>
            </a:r>
            <a:endParaRPr lang="ru-RU" dirty="0"/>
          </a:p>
        </p:txBody>
      </p:sp>
      <p:sp>
        <p:nvSpPr>
          <p:cNvPr id="3" name="Subtitle 2">
            <a:extLst>
              <a:ext uri="{FF2B5EF4-FFF2-40B4-BE49-F238E27FC236}">
                <a16:creationId xmlns:a16="http://schemas.microsoft.com/office/drawing/2014/main" xmlns="" id="{5589EFB6-A77C-4C11-AF39-CFE41C9D5BA4}"/>
              </a:ext>
            </a:extLst>
          </p:cNvPr>
          <p:cNvSpPr>
            <a:spLocks noGrp="1"/>
          </p:cNvSpPr>
          <p:nvPr>
            <p:ph type="subTitle" idx="1"/>
          </p:nvPr>
        </p:nvSpPr>
        <p:spPr>
          <a:xfrm>
            <a:off x="379187" y="5370513"/>
            <a:ext cx="5716815" cy="390526"/>
          </a:xfrm>
        </p:spPr>
        <p:txBody>
          <a:bodyPr>
            <a:normAutofit/>
          </a:bodyPr>
          <a:lstStyle>
            <a:lvl1pPr marL="0" indent="0" algn="l">
              <a:buNone/>
              <a:defRPr sz="2000">
                <a:solidFill>
                  <a:srgbClr val="000000"/>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ru-RU" dirty="0"/>
          </a:p>
        </p:txBody>
      </p:sp>
      <p:pic>
        <p:nvPicPr>
          <p:cNvPr id="11" name="Рисунок 10">
            <a:extLst>
              <a:ext uri="{FF2B5EF4-FFF2-40B4-BE49-F238E27FC236}">
                <a16:creationId xmlns:a16="http://schemas.microsoft.com/office/drawing/2014/main" xmlns="" id="{8C98131A-5EED-4F21-A1D0-AEE44A330C2B}"/>
              </a:ext>
            </a:extLst>
          </p:cNvPr>
          <p:cNvPicPr>
            <a:picLocks noChangeAspect="1"/>
          </p:cNvPicPr>
          <p:nvPr userDrawn="1"/>
        </p:nvPicPr>
        <p:blipFill>
          <a:blip r:embed="rId4"/>
          <a:stretch>
            <a:fillRect/>
          </a:stretch>
        </p:blipFill>
        <p:spPr>
          <a:xfrm>
            <a:off x="242208" y="137743"/>
            <a:ext cx="1933141" cy="751777"/>
          </a:xfrm>
          <a:prstGeom prst="rect">
            <a:avLst/>
          </a:prstGeom>
        </p:spPr>
      </p:pic>
      <p:sp>
        <p:nvSpPr>
          <p:cNvPr id="10" name="Slide Number Placeholder 6">
            <a:extLst>
              <a:ext uri="{FF2B5EF4-FFF2-40B4-BE49-F238E27FC236}">
                <a16:creationId xmlns:a16="http://schemas.microsoft.com/office/drawing/2014/main" xmlns="" id="{C3617151-57D0-4441-BF23-61528D228CB2}"/>
              </a:ext>
            </a:extLst>
          </p:cNvPr>
          <p:cNvSpPr>
            <a:spLocks noGrp="1"/>
          </p:cNvSpPr>
          <p:nvPr>
            <p:ph type="sldNum" sz="quarter" idx="10"/>
          </p:nvPr>
        </p:nvSpPr>
        <p:spPr>
          <a:xfrm>
            <a:off x="8610600" y="6356354"/>
            <a:ext cx="2743200" cy="365125"/>
          </a:xfrm>
        </p:spPr>
        <p:txBody>
          <a:bodyPr/>
          <a:lstStyle>
            <a:lvl1pPr>
              <a:defRPr sz="1400" b="1">
                <a:solidFill>
                  <a:schemeClr val="bg1"/>
                </a:solidFill>
              </a:defRPr>
            </a:lvl1pPr>
          </a:lstStyle>
          <a:p>
            <a:fld id="{35ACA335-37F7-42C7-872A-92C3D7072F89}" type="slidenum">
              <a:rPr lang="ru-RU" smtClean="0"/>
              <a:pPr/>
              <a:t>‹#›</a:t>
            </a:fld>
            <a:endParaRPr lang="ru-RU" dirty="0"/>
          </a:p>
        </p:txBody>
      </p:sp>
      <p:sp>
        <p:nvSpPr>
          <p:cNvPr id="15" name="Subtitle 2">
            <a:extLst>
              <a:ext uri="{FF2B5EF4-FFF2-40B4-BE49-F238E27FC236}">
                <a16:creationId xmlns:a16="http://schemas.microsoft.com/office/drawing/2014/main" xmlns="" id="{0DE5B966-1769-4475-87AC-B648616EE042}"/>
              </a:ext>
            </a:extLst>
          </p:cNvPr>
          <p:cNvSpPr txBox="1">
            <a:spLocks/>
          </p:cNvSpPr>
          <p:nvPr userDrawn="1"/>
        </p:nvSpPr>
        <p:spPr>
          <a:xfrm>
            <a:off x="379186" y="5965824"/>
            <a:ext cx="5716815" cy="3905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00000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ru-RU" sz="1400" dirty="0"/>
          </a:p>
        </p:txBody>
      </p:sp>
      <p:sp>
        <p:nvSpPr>
          <p:cNvPr id="17" name="Text Placeholder 16">
            <a:extLst>
              <a:ext uri="{FF2B5EF4-FFF2-40B4-BE49-F238E27FC236}">
                <a16:creationId xmlns:a16="http://schemas.microsoft.com/office/drawing/2014/main" xmlns="" id="{621A0428-65CA-4233-9588-FE9A4125CB9E}"/>
              </a:ext>
            </a:extLst>
          </p:cNvPr>
          <p:cNvSpPr>
            <a:spLocks noGrp="1"/>
          </p:cNvSpPr>
          <p:nvPr>
            <p:ph type="body" sz="quarter" idx="11"/>
          </p:nvPr>
        </p:nvSpPr>
        <p:spPr>
          <a:xfrm>
            <a:off x="379186" y="5983288"/>
            <a:ext cx="5716817" cy="484188"/>
          </a:xfrm>
        </p:spPr>
        <p:txBody>
          <a:bodyPr anchor="ctr">
            <a:noAutofit/>
          </a:bodyPr>
          <a:lstStyle>
            <a:lvl1pPr marL="0" indent="0">
              <a:buNone/>
              <a:defRPr sz="1400">
                <a:solidFill>
                  <a:srgbClr val="000000"/>
                </a:solidFill>
              </a:defRPr>
            </a:lvl1pPr>
            <a:lvl2pPr marL="457189" indent="0">
              <a:buNone/>
              <a:defRPr sz="1400">
                <a:solidFill>
                  <a:srgbClr val="000000"/>
                </a:solidFill>
              </a:defRPr>
            </a:lvl2pPr>
            <a:lvl3pPr marL="914377" indent="0">
              <a:buNone/>
              <a:defRPr sz="1400">
                <a:solidFill>
                  <a:srgbClr val="000000"/>
                </a:solidFill>
              </a:defRPr>
            </a:lvl3pPr>
            <a:lvl4pPr marL="1371566" indent="0">
              <a:buNone/>
              <a:defRPr sz="1400">
                <a:solidFill>
                  <a:srgbClr val="000000"/>
                </a:solidFill>
              </a:defRPr>
            </a:lvl4pPr>
            <a:lvl5pPr marL="1828754" indent="0">
              <a:buNone/>
              <a:defRPr sz="1400">
                <a:solidFill>
                  <a:srgbClr val="000000"/>
                </a:solidFill>
              </a:defRPr>
            </a:lvl5pPr>
          </a:lstStyle>
          <a:p>
            <a:pPr lvl="0"/>
            <a:r>
              <a:rPr lang="en-US" dirty="0"/>
              <a:t>Click to edit Master text styles</a:t>
            </a:r>
          </a:p>
        </p:txBody>
      </p:sp>
      <p:pic>
        <p:nvPicPr>
          <p:cNvPr id="14" name="Graphic 13">
            <a:extLst>
              <a:ext uri="{FF2B5EF4-FFF2-40B4-BE49-F238E27FC236}">
                <a16:creationId xmlns:a16="http://schemas.microsoft.com/office/drawing/2014/main" xmlns="" id="{8DD2ED7C-EE3E-447B-928D-930365F8BE74}"/>
              </a:ext>
            </a:extLst>
          </p:cNvPr>
          <p:cNvPicPr>
            <a:picLocks noChangeAspect="1"/>
          </p:cNvPicPr>
          <p:nvPr userDrawn="1"/>
        </p:nvPicPr>
        <p:blipFill>
          <a:blip r:embed="rId5">
            <a:lum bright="6000" contrast="12000"/>
            <a:extLst>
              <a:ext uri="{96DAC541-7B7A-43D3-8B79-37D633B846F1}">
                <asvg:svgBlip xmlns:asvg="http://schemas.microsoft.com/office/drawing/2016/SVG/main" xmlns="" r:embed="rId6"/>
              </a:ext>
            </a:extLst>
          </a:blip>
          <a:stretch>
            <a:fillRect/>
          </a:stretch>
        </p:blipFill>
        <p:spPr>
          <a:xfrm>
            <a:off x="6882949" y="831176"/>
            <a:ext cx="4929867" cy="4929867"/>
          </a:xfrm>
          <a:prstGeom prst="rect">
            <a:avLst/>
          </a:prstGeom>
        </p:spPr>
      </p:pic>
    </p:spTree>
    <p:extLst>
      <p:ext uri="{BB962C8B-B14F-4D97-AF65-F5344CB8AC3E}">
        <p14:creationId xmlns:p14="http://schemas.microsoft.com/office/powerpoint/2010/main" val="15554874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xmlns="" id="{8A0942D5-EDF5-4E10-9FC1-29A2A9EDCC10}"/>
              </a:ext>
            </a:extLst>
          </p:cNvPr>
          <p:cNvSpPr>
            <a:spLocks noGrp="1"/>
          </p:cNvSpPr>
          <p:nvPr>
            <p:ph type="sldNum" sz="quarter" idx="10"/>
          </p:nvPr>
        </p:nvSpPr>
        <p:spPr>
          <a:xfrm>
            <a:off x="8610600" y="6356354"/>
            <a:ext cx="2743200" cy="365125"/>
          </a:xfrm>
        </p:spPr>
        <p:txBody>
          <a:bodyPr/>
          <a:lstStyle>
            <a:lvl1pPr>
              <a:defRPr sz="1400" b="1">
                <a:solidFill>
                  <a:schemeClr val="tx1"/>
                </a:solidFill>
              </a:defRPr>
            </a:lvl1pPr>
          </a:lstStyle>
          <a:p>
            <a:fld id="{35ACA335-37F7-42C7-872A-92C3D7072F89}" type="slidenum">
              <a:rPr lang="ru-RU" smtClean="0"/>
              <a:pPr/>
              <a:t>‹#›</a:t>
            </a:fld>
            <a:endParaRPr lang="ru-RU" dirty="0"/>
          </a:p>
        </p:txBody>
      </p:sp>
    </p:spTree>
    <p:extLst>
      <p:ext uri="{BB962C8B-B14F-4D97-AF65-F5344CB8AC3E}">
        <p14:creationId xmlns:p14="http://schemas.microsoft.com/office/powerpoint/2010/main" val="34512283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bg>
      <p:bgPr>
        <a:solidFill>
          <a:srgbClr val="FFFFFF"/>
        </a:solidFill>
        <a:effectLst/>
      </p:bgPr>
    </p:bg>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xmlns="" id="{32F8EDCF-3979-41F7-BD55-BB5BBB9BBD40}"/>
              </a:ext>
            </a:extLst>
          </p:cNvPr>
          <p:cNvPicPr>
            <a:picLocks noChangeAspect="1"/>
          </p:cNvPicPr>
          <p:nvPr userDrawn="1"/>
        </p:nvPicPr>
        <p:blipFill>
          <a:blip r:embed="rId2">
            <a:extLst>
              <a:ext uri="{BEBA8EAE-BF5A-486C-A8C5-ECC9F3942E4B}">
                <a14:imgProps xmlns:a14="http://schemas.microsoft.com/office/drawing/2010/main">
                  <a14:imgLayer r:embed="rId3">
                    <a14:imgEffect>
                      <a14:sharpenSoften amount="-100000"/>
                    </a14:imgEffect>
                    <a14:imgEffect>
                      <a14:brightnessContrast bright="-3000" contrast="43000"/>
                    </a14:imgEffect>
                  </a14:imgLayer>
                </a14:imgProps>
              </a:ext>
            </a:extLst>
          </a:blip>
          <a:stretch>
            <a:fillRect/>
          </a:stretch>
        </p:blipFill>
        <p:spPr>
          <a:xfrm flipH="1">
            <a:off x="2468" y="0"/>
            <a:ext cx="12187067" cy="6858000"/>
          </a:xfrm>
          <a:prstGeom prst="rect">
            <a:avLst/>
          </a:prstGeom>
        </p:spPr>
      </p:pic>
      <p:sp>
        <p:nvSpPr>
          <p:cNvPr id="2" name="Title 1">
            <a:extLst>
              <a:ext uri="{FF2B5EF4-FFF2-40B4-BE49-F238E27FC236}">
                <a16:creationId xmlns:a16="http://schemas.microsoft.com/office/drawing/2014/main" xmlns="" id="{90602BA8-59C4-49CA-A80E-77E37E785FB7}"/>
              </a:ext>
            </a:extLst>
          </p:cNvPr>
          <p:cNvSpPr>
            <a:spLocks noGrp="1"/>
          </p:cNvSpPr>
          <p:nvPr>
            <p:ph type="ctrTitle"/>
          </p:nvPr>
        </p:nvSpPr>
        <p:spPr>
          <a:xfrm>
            <a:off x="6083305" y="2004303"/>
            <a:ext cx="5716815" cy="2149314"/>
          </a:xfrm>
        </p:spPr>
        <p:txBody>
          <a:bodyPr anchor="t">
            <a:normAutofit/>
          </a:bodyPr>
          <a:lstStyle>
            <a:lvl1pPr algn="r">
              <a:defRPr sz="3600" b="1">
                <a:solidFill>
                  <a:srgbClr val="000000"/>
                </a:solidFill>
              </a:defRPr>
            </a:lvl1pPr>
          </a:lstStyle>
          <a:p>
            <a:r>
              <a:rPr lang="en-US" dirty="0"/>
              <a:t>Click to edit Master title style</a:t>
            </a:r>
            <a:endParaRPr lang="ru-RU" dirty="0"/>
          </a:p>
        </p:txBody>
      </p:sp>
      <p:sp>
        <p:nvSpPr>
          <p:cNvPr id="3" name="Subtitle 2">
            <a:extLst>
              <a:ext uri="{FF2B5EF4-FFF2-40B4-BE49-F238E27FC236}">
                <a16:creationId xmlns:a16="http://schemas.microsoft.com/office/drawing/2014/main" xmlns="" id="{5589EFB6-A77C-4C11-AF39-CFE41C9D5BA4}"/>
              </a:ext>
            </a:extLst>
          </p:cNvPr>
          <p:cNvSpPr>
            <a:spLocks noGrp="1"/>
          </p:cNvSpPr>
          <p:nvPr>
            <p:ph type="subTitle" idx="1"/>
          </p:nvPr>
        </p:nvSpPr>
        <p:spPr>
          <a:xfrm>
            <a:off x="6083305" y="5370513"/>
            <a:ext cx="5716815" cy="390526"/>
          </a:xfrm>
        </p:spPr>
        <p:txBody>
          <a:bodyPr>
            <a:normAutofit/>
          </a:bodyPr>
          <a:lstStyle>
            <a:lvl1pPr marL="0" indent="0" algn="r">
              <a:buNone/>
              <a:defRPr sz="2000">
                <a:solidFill>
                  <a:srgbClr val="000000"/>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ru-RU" dirty="0"/>
          </a:p>
        </p:txBody>
      </p:sp>
      <p:pic>
        <p:nvPicPr>
          <p:cNvPr id="11" name="Рисунок 10">
            <a:extLst>
              <a:ext uri="{FF2B5EF4-FFF2-40B4-BE49-F238E27FC236}">
                <a16:creationId xmlns:a16="http://schemas.microsoft.com/office/drawing/2014/main" xmlns="" id="{8C98131A-5EED-4F21-A1D0-AEE44A330C2B}"/>
              </a:ext>
            </a:extLst>
          </p:cNvPr>
          <p:cNvPicPr>
            <a:picLocks noChangeAspect="1"/>
          </p:cNvPicPr>
          <p:nvPr userDrawn="1"/>
        </p:nvPicPr>
        <p:blipFill>
          <a:blip r:embed="rId4"/>
          <a:stretch>
            <a:fillRect/>
          </a:stretch>
        </p:blipFill>
        <p:spPr>
          <a:xfrm>
            <a:off x="9866976" y="137743"/>
            <a:ext cx="1933141" cy="751777"/>
          </a:xfrm>
          <a:prstGeom prst="rect">
            <a:avLst/>
          </a:prstGeom>
        </p:spPr>
      </p:pic>
      <p:sp>
        <p:nvSpPr>
          <p:cNvPr id="10" name="Slide Number Placeholder 6">
            <a:extLst>
              <a:ext uri="{FF2B5EF4-FFF2-40B4-BE49-F238E27FC236}">
                <a16:creationId xmlns:a16="http://schemas.microsoft.com/office/drawing/2014/main" xmlns="" id="{C3617151-57D0-4441-BF23-61528D228CB2}"/>
              </a:ext>
            </a:extLst>
          </p:cNvPr>
          <p:cNvSpPr>
            <a:spLocks noGrp="1"/>
          </p:cNvSpPr>
          <p:nvPr>
            <p:ph type="sldNum" sz="quarter" idx="10"/>
          </p:nvPr>
        </p:nvSpPr>
        <p:spPr>
          <a:xfrm>
            <a:off x="8610600" y="6356354"/>
            <a:ext cx="2743200" cy="365125"/>
          </a:xfrm>
        </p:spPr>
        <p:txBody>
          <a:bodyPr/>
          <a:lstStyle>
            <a:lvl1pPr>
              <a:defRPr sz="1400" b="1">
                <a:solidFill>
                  <a:schemeClr val="bg1"/>
                </a:solidFill>
              </a:defRPr>
            </a:lvl1pPr>
          </a:lstStyle>
          <a:p>
            <a:fld id="{35ACA335-37F7-42C7-872A-92C3D7072F89}" type="slidenum">
              <a:rPr lang="ru-RU" smtClean="0"/>
              <a:pPr/>
              <a:t>‹#›</a:t>
            </a:fld>
            <a:endParaRPr lang="ru-RU" dirty="0"/>
          </a:p>
        </p:txBody>
      </p:sp>
      <p:sp>
        <p:nvSpPr>
          <p:cNvPr id="15" name="Subtitle 2">
            <a:extLst>
              <a:ext uri="{FF2B5EF4-FFF2-40B4-BE49-F238E27FC236}">
                <a16:creationId xmlns:a16="http://schemas.microsoft.com/office/drawing/2014/main" xmlns="" id="{0DE5B966-1769-4475-87AC-B648616EE042}"/>
              </a:ext>
            </a:extLst>
          </p:cNvPr>
          <p:cNvSpPr txBox="1">
            <a:spLocks/>
          </p:cNvSpPr>
          <p:nvPr userDrawn="1"/>
        </p:nvSpPr>
        <p:spPr>
          <a:xfrm>
            <a:off x="6083303" y="5965824"/>
            <a:ext cx="5716815" cy="3905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rgbClr val="00000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endParaRPr lang="ru-RU" sz="1400" dirty="0"/>
          </a:p>
        </p:txBody>
      </p:sp>
      <p:sp>
        <p:nvSpPr>
          <p:cNvPr id="17" name="Text Placeholder 16">
            <a:extLst>
              <a:ext uri="{FF2B5EF4-FFF2-40B4-BE49-F238E27FC236}">
                <a16:creationId xmlns:a16="http://schemas.microsoft.com/office/drawing/2014/main" xmlns="" id="{621A0428-65CA-4233-9588-FE9A4125CB9E}"/>
              </a:ext>
            </a:extLst>
          </p:cNvPr>
          <p:cNvSpPr>
            <a:spLocks noGrp="1"/>
          </p:cNvSpPr>
          <p:nvPr>
            <p:ph type="body" sz="quarter" idx="11"/>
          </p:nvPr>
        </p:nvSpPr>
        <p:spPr>
          <a:xfrm>
            <a:off x="6083304" y="5983288"/>
            <a:ext cx="5716817" cy="484188"/>
          </a:xfrm>
        </p:spPr>
        <p:txBody>
          <a:bodyPr anchor="ctr">
            <a:noAutofit/>
          </a:bodyPr>
          <a:lstStyle>
            <a:lvl1pPr marL="0" indent="0" algn="r">
              <a:buNone/>
              <a:defRPr sz="1400">
                <a:solidFill>
                  <a:srgbClr val="000000"/>
                </a:solidFill>
              </a:defRPr>
            </a:lvl1pPr>
            <a:lvl2pPr marL="457189" indent="0">
              <a:buNone/>
              <a:defRPr sz="1400">
                <a:solidFill>
                  <a:srgbClr val="000000"/>
                </a:solidFill>
              </a:defRPr>
            </a:lvl2pPr>
            <a:lvl3pPr marL="914377" indent="0">
              <a:buNone/>
              <a:defRPr sz="1400">
                <a:solidFill>
                  <a:srgbClr val="000000"/>
                </a:solidFill>
              </a:defRPr>
            </a:lvl3pPr>
            <a:lvl4pPr marL="1371566" indent="0">
              <a:buNone/>
              <a:defRPr sz="1400">
                <a:solidFill>
                  <a:srgbClr val="000000"/>
                </a:solidFill>
              </a:defRPr>
            </a:lvl4pPr>
            <a:lvl5pPr marL="1828754" indent="0">
              <a:buNone/>
              <a:defRPr sz="1400">
                <a:solidFill>
                  <a:srgbClr val="000000"/>
                </a:solidFill>
              </a:defRPr>
            </a:lvl5pPr>
          </a:lstStyle>
          <a:p>
            <a:pPr lvl="0"/>
            <a:r>
              <a:rPr lang="en-US" dirty="0"/>
              <a:t>Click to edit Master text styles</a:t>
            </a:r>
          </a:p>
        </p:txBody>
      </p:sp>
      <p:pic>
        <p:nvPicPr>
          <p:cNvPr id="14" name="Graphic 13">
            <a:extLst>
              <a:ext uri="{FF2B5EF4-FFF2-40B4-BE49-F238E27FC236}">
                <a16:creationId xmlns:a16="http://schemas.microsoft.com/office/drawing/2014/main" xmlns="" id="{8DD2ED7C-EE3E-447B-928D-930365F8BE74}"/>
              </a:ext>
            </a:extLst>
          </p:cNvPr>
          <p:cNvPicPr>
            <a:picLocks noChangeAspect="1"/>
          </p:cNvPicPr>
          <p:nvPr userDrawn="1"/>
        </p:nvPicPr>
        <p:blipFill>
          <a:blip r:embed="rId5">
            <a:lum bright="6000" contrast="12000"/>
            <a:extLst>
              <a:ext uri="{96DAC541-7B7A-43D3-8B79-37D633B846F1}">
                <asvg:svgBlip xmlns:asvg="http://schemas.microsoft.com/office/drawing/2016/SVG/main" xmlns="" r:embed="rId6"/>
              </a:ext>
            </a:extLst>
          </a:blip>
          <a:stretch>
            <a:fillRect/>
          </a:stretch>
        </p:blipFill>
        <p:spPr>
          <a:xfrm>
            <a:off x="577952" y="1035957"/>
            <a:ext cx="4929867" cy="4929867"/>
          </a:xfrm>
          <a:prstGeom prst="rect">
            <a:avLst/>
          </a:prstGeom>
        </p:spPr>
      </p:pic>
    </p:spTree>
    <p:extLst>
      <p:ext uri="{BB962C8B-B14F-4D97-AF65-F5344CB8AC3E}">
        <p14:creationId xmlns:p14="http://schemas.microsoft.com/office/powerpoint/2010/main" val="3725359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263"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195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775384" y="622802"/>
            <a:ext cx="10642708" cy="225062"/>
          </a:xfrm>
        </p:spPr>
        <p:txBody>
          <a:bodyPr/>
          <a:lstStyle>
            <a:lvl1pPr>
              <a:defRPr>
                <a:solidFill>
                  <a:srgbClr val="374140"/>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604216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Начало нового раздела">
    <p:spTree>
      <p:nvGrpSpPr>
        <p:cNvPr id="1" name=""/>
        <p:cNvGrpSpPr/>
        <p:nvPr/>
      </p:nvGrpSpPr>
      <p:grpSpPr>
        <a:xfrm>
          <a:off x="0" y="0"/>
          <a:ext cx="0" cy="0"/>
          <a:chOff x="0" y="0"/>
          <a:chExt cx="0" cy="0"/>
        </a:xfrm>
      </p:grpSpPr>
      <p:pic>
        <p:nvPicPr>
          <p:cNvPr id="10" name="Рисунок 4">
            <a:extLst>
              <a:ext uri="{FF2B5EF4-FFF2-40B4-BE49-F238E27FC236}">
                <a16:creationId xmlns:a16="http://schemas.microsoft.com/office/drawing/2014/main" xmlns="" id="{68DBB5B4-50CD-1B4B-8975-3DEEE9D085D6}"/>
              </a:ext>
            </a:extLst>
          </p:cNvPr>
          <p:cNvPicPr>
            <a:picLocks noChangeAspect="1"/>
          </p:cNvPicPr>
          <p:nvPr userDrawn="1"/>
        </p:nvPicPr>
        <p:blipFill rotWithShape="1">
          <a:blip r:embed="rId2"/>
          <a:srcRect l="1299" t="8615" r="33866" b="8615"/>
          <a:stretch/>
        </p:blipFill>
        <p:spPr>
          <a:xfrm>
            <a:off x="-1" y="0"/>
            <a:ext cx="12192001" cy="6858000"/>
          </a:xfrm>
          <a:prstGeom prst="rect">
            <a:avLst/>
          </a:prstGeom>
        </p:spPr>
      </p:pic>
      <p:pic>
        <p:nvPicPr>
          <p:cNvPr id="11" name="Рисунок 1">
            <a:extLst>
              <a:ext uri="{FF2B5EF4-FFF2-40B4-BE49-F238E27FC236}">
                <a16:creationId xmlns:a16="http://schemas.microsoft.com/office/drawing/2014/main" xmlns="" id="{B21E28F3-63B0-F946-83F8-40141C88A2AA}"/>
              </a:ext>
            </a:extLst>
          </p:cNvPr>
          <p:cNvPicPr>
            <a:picLocks noChangeAspect="1"/>
          </p:cNvPicPr>
          <p:nvPr userDrawn="1"/>
        </p:nvPicPr>
        <p:blipFill>
          <a:blip r:embed="rId3"/>
          <a:stretch>
            <a:fillRect/>
          </a:stretch>
        </p:blipFill>
        <p:spPr>
          <a:xfrm rot="1772176">
            <a:off x="4133233" y="242330"/>
            <a:ext cx="12478979" cy="7749842"/>
          </a:xfrm>
          <a:prstGeom prst="rect">
            <a:avLst/>
          </a:prstGeom>
        </p:spPr>
      </p:pic>
      <p:sp>
        <p:nvSpPr>
          <p:cNvPr id="2" name="Title 1">
            <a:extLst>
              <a:ext uri="{FF2B5EF4-FFF2-40B4-BE49-F238E27FC236}">
                <a16:creationId xmlns:a16="http://schemas.microsoft.com/office/drawing/2014/main" xmlns="" id="{E6C7D33B-D79A-4D27-9A63-115EBBA5C567}"/>
              </a:ext>
            </a:extLst>
          </p:cNvPr>
          <p:cNvSpPr>
            <a:spLocks noGrp="1"/>
          </p:cNvSpPr>
          <p:nvPr userDrawn="1">
            <p:ph type="title"/>
          </p:nvPr>
        </p:nvSpPr>
        <p:spPr>
          <a:xfrm>
            <a:off x="442916" y="1264518"/>
            <a:ext cx="6101721" cy="2852737"/>
          </a:xfrm>
        </p:spPr>
        <p:txBody>
          <a:bodyPr anchor="t">
            <a:normAutofit/>
          </a:bodyPr>
          <a:lstStyle>
            <a:lvl1pPr algn="l">
              <a:defRPr sz="2400" b="1">
                <a:solidFill>
                  <a:srgbClr val="000000"/>
                </a:solidFill>
              </a:defRPr>
            </a:lvl1pPr>
          </a:lstStyle>
          <a:p>
            <a:r>
              <a:rPr lang="en-US" dirty="0"/>
              <a:t>Click to edit Master title style</a:t>
            </a:r>
            <a:endParaRPr lang="ru-RU" dirty="0"/>
          </a:p>
        </p:txBody>
      </p:sp>
      <p:sp>
        <p:nvSpPr>
          <p:cNvPr id="7" name="Slide Number Placeholder 6">
            <a:extLst>
              <a:ext uri="{FF2B5EF4-FFF2-40B4-BE49-F238E27FC236}">
                <a16:creationId xmlns:a16="http://schemas.microsoft.com/office/drawing/2014/main" xmlns="" id="{AA8590D6-A175-4CC3-AA1C-C2F78C4BE943}"/>
              </a:ext>
            </a:extLst>
          </p:cNvPr>
          <p:cNvSpPr>
            <a:spLocks noGrp="1"/>
          </p:cNvSpPr>
          <p:nvPr userDrawn="1">
            <p:ph type="sldNum" sz="quarter" idx="10"/>
          </p:nvPr>
        </p:nvSpPr>
        <p:spPr/>
        <p:txBody>
          <a:bodyPr/>
          <a:lstStyle>
            <a:lvl1pPr>
              <a:defRPr sz="1400" b="1">
                <a:solidFill>
                  <a:schemeClr val="bg1"/>
                </a:solidFill>
              </a:defRPr>
            </a:lvl1pPr>
          </a:lstStyle>
          <a:p>
            <a:fld id="{35ACA335-37F7-42C7-872A-92C3D7072F89}" type="slidenum">
              <a:rPr lang="ru-RU" smtClean="0"/>
              <a:pPr/>
              <a:t>‹#›</a:t>
            </a:fld>
            <a:endParaRPr lang="ru-RU" dirty="0"/>
          </a:p>
        </p:txBody>
      </p:sp>
    </p:spTree>
    <p:extLst>
      <p:ext uri="{BB962C8B-B14F-4D97-AF65-F5344CB8AC3E}">
        <p14:creationId xmlns:p14="http://schemas.microsoft.com/office/powerpoint/2010/main" val="1167183020"/>
      </p:ext>
    </p:extLst>
  </p:cSld>
  <p:clrMapOvr>
    <a:masterClrMapping/>
  </p:clrMapOvr>
  <p:extLst>
    <p:ext uri="{DCECCB84-F9BA-43D5-87BE-67443E8EF086}">
      <p15:sldGuideLst xmlns:p15="http://schemas.microsoft.com/office/powerpoint/2012/main">
        <p15:guide id="1" pos="27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Текст">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FFDF5ABC-2F51-4348-936E-5C87AD6348D0}"/>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3000" contrast="18000"/>
                    </a14:imgEffect>
                  </a14:imgLayer>
                </a14:imgProps>
              </a:ext>
            </a:extLst>
          </a:blip>
          <a:srcRect l="32442"/>
          <a:stretch/>
        </p:blipFill>
        <p:spPr>
          <a:xfrm>
            <a:off x="0" y="5776246"/>
            <a:ext cx="12192000" cy="1081754"/>
          </a:xfrm>
          <a:prstGeom prst="rect">
            <a:avLst/>
          </a:prstGeom>
        </p:spPr>
      </p:pic>
      <p:sp>
        <p:nvSpPr>
          <p:cNvPr id="13" name="Slide Number Placeholder 6">
            <a:extLst>
              <a:ext uri="{FF2B5EF4-FFF2-40B4-BE49-F238E27FC236}">
                <a16:creationId xmlns:a16="http://schemas.microsoft.com/office/drawing/2014/main" xmlns="" id="{C1BAB3E4-8CDB-4F6A-B3E4-6E0AAEA08B5E}"/>
              </a:ext>
            </a:extLst>
          </p:cNvPr>
          <p:cNvSpPr>
            <a:spLocks noGrp="1"/>
          </p:cNvSpPr>
          <p:nvPr>
            <p:ph type="sldNum" sz="quarter" idx="10"/>
          </p:nvPr>
        </p:nvSpPr>
        <p:spPr>
          <a:xfrm>
            <a:off x="8743949" y="6334130"/>
            <a:ext cx="2743200" cy="365125"/>
          </a:xfrm>
        </p:spPr>
        <p:txBody>
          <a:bodyPr/>
          <a:lstStyle>
            <a:lvl1pPr>
              <a:defRPr sz="1400"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a16="http://schemas.microsoft.com/office/drawing/2014/main" xmlns="" id="{0E651BF2-C6BE-42E0-B646-8F3DC2D7D273}"/>
              </a:ext>
            </a:extLst>
          </p:cNvPr>
          <p:cNvSpPr/>
          <p:nvPr userDrawn="1"/>
        </p:nvSpPr>
        <p:spPr>
          <a:xfrm>
            <a:off x="0" y="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16" name="Title 2">
            <a:extLst>
              <a:ext uri="{FF2B5EF4-FFF2-40B4-BE49-F238E27FC236}">
                <a16:creationId xmlns:a16="http://schemas.microsoft.com/office/drawing/2014/main" xmlns="" id="{74242212-74B6-428E-A4FD-D6259025E325}"/>
              </a:ext>
            </a:extLst>
          </p:cNvPr>
          <p:cNvSpPr>
            <a:spLocks noGrp="1"/>
          </p:cNvSpPr>
          <p:nvPr>
            <p:ph type="title"/>
          </p:nvPr>
        </p:nvSpPr>
        <p:spPr>
          <a:xfrm>
            <a:off x="962025" y="4"/>
            <a:ext cx="10534651" cy="838199"/>
          </a:xfrm>
        </p:spPr>
        <p:txBody>
          <a:bodyPr anchor="ctr">
            <a:normAutofit/>
          </a:bodyPr>
          <a:lstStyle>
            <a:lvl1pPr>
              <a:tabLst>
                <a:tab pos="809625" algn="l"/>
              </a:tabLst>
              <a:defRPr sz="2400" b="1">
                <a:solidFill>
                  <a:schemeClr val="tx1"/>
                </a:solidFill>
              </a:defRPr>
            </a:lvl1pPr>
          </a:lstStyle>
          <a:p>
            <a:pPr>
              <a:tabLst>
                <a:tab pos="809625" algn="l"/>
              </a:tabLst>
            </a:pPr>
            <a:endParaRPr lang="ru-RU" dirty="0"/>
          </a:p>
        </p:txBody>
      </p:sp>
      <p:pic>
        <p:nvPicPr>
          <p:cNvPr id="17" name="Рисунок 38">
            <a:extLst>
              <a:ext uri="{FF2B5EF4-FFF2-40B4-BE49-F238E27FC236}">
                <a16:creationId xmlns:a16="http://schemas.microsoft.com/office/drawing/2014/main" xmlns="" id="{EACDABC3-91E6-489E-BD75-AECE9345F67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0865" y="34942"/>
            <a:ext cx="691747" cy="696899"/>
          </a:xfrm>
          <a:prstGeom prst="rect">
            <a:avLst/>
          </a:prstGeom>
        </p:spPr>
      </p:pic>
      <p:sp>
        <p:nvSpPr>
          <p:cNvPr id="19" name="Text Placeholder 18">
            <a:extLst>
              <a:ext uri="{FF2B5EF4-FFF2-40B4-BE49-F238E27FC236}">
                <a16:creationId xmlns:a16="http://schemas.microsoft.com/office/drawing/2014/main" xmlns="" id="{BE3871F9-012E-4CA1-B5B3-003F9F793BA7}"/>
              </a:ext>
            </a:extLst>
          </p:cNvPr>
          <p:cNvSpPr>
            <a:spLocks noGrp="1"/>
          </p:cNvSpPr>
          <p:nvPr>
            <p:ph type="body" sz="quarter" idx="11"/>
          </p:nvPr>
        </p:nvSpPr>
        <p:spPr>
          <a:xfrm>
            <a:off x="962024" y="1323975"/>
            <a:ext cx="10525125" cy="4895850"/>
          </a:xfrm>
        </p:spPr>
        <p:txBody>
          <a:bodyPr>
            <a:normAutofit/>
          </a:bodyPr>
          <a:lstStyle>
            <a:lvl1pPr marL="228594" indent="-228594">
              <a:buClr>
                <a:schemeClr val="tx2"/>
              </a:buClr>
              <a:buFont typeface="Wingdings" panose="05000000000000000000" pitchFamily="2" charset="2"/>
              <a:buChar char="§"/>
              <a:defRPr sz="1800">
                <a:solidFill>
                  <a:srgbClr val="000000"/>
                </a:solidFill>
              </a:defRPr>
            </a:lvl1pPr>
            <a:lvl2pPr marL="685783" indent="-228594">
              <a:buClr>
                <a:schemeClr val="tx2"/>
              </a:buClr>
              <a:buFont typeface="Wingdings" panose="05000000000000000000" pitchFamily="2" charset="2"/>
              <a:buChar char="§"/>
              <a:defRPr sz="1800">
                <a:solidFill>
                  <a:srgbClr val="000000"/>
                </a:solidFill>
              </a:defRPr>
            </a:lvl2pPr>
            <a:lvl3pPr marL="1142971" indent="-228594">
              <a:buClr>
                <a:schemeClr val="tx2"/>
              </a:buClr>
              <a:buFont typeface="Wingdings" panose="05000000000000000000" pitchFamily="2" charset="2"/>
              <a:buChar char="§"/>
              <a:defRPr sz="1800">
                <a:solidFill>
                  <a:srgbClr val="000000"/>
                </a:solidFill>
              </a:defRPr>
            </a:lvl3pPr>
            <a:lvl4pPr marL="1600160" indent="-228594">
              <a:buClr>
                <a:schemeClr val="tx2"/>
              </a:buClr>
              <a:buFont typeface="Wingdings" panose="05000000000000000000" pitchFamily="2" charset="2"/>
              <a:buChar char="§"/>
              <a:defRPr sz="1800">
                <a:solidFill>
                  <a:srgbClr val="000000"/>
                </a:solidFill>
              </a:defRPr>
            </a:lvl4pPr>
            <a:lvl5pPr marL="2057349" indent="-228594">
              <a:buClr>
                <a:schemeClr val="tx2"/>
              </a:buClr>
              <a:buFont typeface="Wingdings" panose="05000000000000000000" pitchFamily="2" charset="2"/>
              <a:buChar char="§"/>
              <a:defRPr sz="18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Tree>
    <p:extLst>
      <p:ext uri="{BB962C8B-B14F-4D97-AF65-F5344CB8AC3E}">
        <p14:creationId xmlns:p14="http://schemas.microsoft.com/office/powerpoint/2010/main" val="2450863679"/>
      </p:ext>
    </p:extLst>
  </p:cSld>
  <p:clrMapOvr>
    <a:masterClrMapping/>
  </p:clrMapOvr>
  <p:extLst>
    <p:ext uri="{DCECCB84-F9BA-43D5-87BE-67443E8EF086}">
      <p15:sldGuideLst xmlns:p15="http://schemas.microsoft.com/office/powerpoint/2012/main">
        <p15:guide id="1" pos="7243">
          <p15:clr>
            <a:srgbClr val="FBAE40"/>
          </p15:clr>
        </p15:guide>
        <p15:guide id="2" pos="30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Текст">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FFDF5ABC-2F51-4348-936E-5C87AD6348D0}"/>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3000" contrast="18000"/>
                    </a14:imgEffect>
                  </a14:imgLayer>
                </a14:imgProps>
              </a:ext>
            </a:extLst>
          </a:blip>
          <a:srcRect l="32442"/>
          <a:stretch/>
        </p:blipFill>
        <p:spPr>
          <a:xfrm>
            <a:off x="0" y="5776246"/>
            <a:ext cx="12192000" cy="1081754"/>
          </a:xfrm>
          <a:prstGeom prst="rect">
            <a:avLst/>
          </a:prstGeom>
        </p:spPr>
      </p:pic>
      <p:sp>
        <p:nvSpPr>
          <p:cNvPr id="13" name="Slide Number Placeholder 6">
            <a:extLst>
              <a:ext uri="{FF2B5EF4-FFF2-40B4-BE49-F238E27FC236}">
                <a16:creationId xmlns:a16="http://schemas.microsoft.com/office/drawing/2014/main" xmlns="" id="{C1BAB3E4-8CDB-4F6A-B3E4-6E0AAEA08B5E}"/>
              </a:ext>
            </a:extLst>
          </p:cNvPr>
          <p:cNvSpPr>
            <a:spLocks noGrp="1"/>
          </p:cNvSpPr>
          <p:nvPr>
            <p:ph type="sldNum" sz="quarter" idx="10"/>
          </p:nvPr>
        </p:nvSpPr>
        <p:spPr>
          <a:xfrm>
            <a:off x="8743949" y="6334130"/>
            <a:ext cx="2743200" cy="365125"/>
          </a:xfrm>
        </p:spPr>
        <p:txBody>
          <a:bodyPr/>
          <a:lstStyle>
            <a:lvl1pPr>
              <a:defRPr sz="1400"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a16="http://schemas.microsoft.com/office/drawing/2014/main" xmlns="" id="{0E651BF2-C6BE-42E0-B646-8F3DC2D7D273}"/>
              </a:ext>
            </a:extLst>
          </p:cNvPr>
          <p:cNvSpPr/>
          <p:nvPr userDrawn="1"/>
        </p:nvSpPr>
        <p:spPr>
          <a:xfrm>
            <a:off x="0" y="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16" name="Title 2">
            <a:extLst>
              <a:ext uri="{FF2B5EF4-FFF2-40B4-BE49-F238E27FC236}">
                <a16:creationId xmlns:a16="http://schemas.microsoft.com/office/drawing/2014/main" xmlns="" id="{74242212-74B6-428E-A4FD-D6259025E325}"/>
              </a:ext>
            </a:extLst>
          </p:cNvPr>
          <p:cNvSpPr>
            <a:spLocks noGrp="1"/>
          </p:cNvSpPr>
          <p:nvPr>
            <p:ph type="title"/>
          </p:nvPr>
        </p:nvSpPr>
        <p:spPr>
          <a:xfrm>
            <a:off x="962025" y="4"/>
            <a:ext cx="10534651" cy="838199"/>
          </a:xfrm>
        </p:spPr>
        <p:txBody>
          <a:bodyPr anchor="ctr">
            <a:normAutofit/>
          </a:bodyPr>
          <a:lstStyle>
            <a:lvl1pPr>
              <a:tabLst>
                <a:tab pos="809625" algn="l"/>
              </a:tabLst>
              <a:defRPr sz="2400" b="1">
                <a:solidFill>
                  <a:schemeClr val="tx1"/>
                </a:solidFill>
              </a:defRPr>
            </a:lvl1pPr>
          </a:lstStyle>
          <a:p>
            <a:pPr>
              <a:tabLst>
                <a:tab pos="809625" algn="l"/>
              </a:tabLst>
            </a:pPr>
            <a:endParaRPr lang="ru-RU" dirty="0"/>
          </a:p>
        </p:txBody>
      </p:sp>
      <p:pic>
        <p:nvPicPr>
          <p:cNvPr id="17" name="Рисунок 38">
            <a:extLst>
              <a:ext uri="{FF2B5EF4-FFF2-40B4-BE49-F238E27FC236}">
                <a16:creationId xmlns:a16="http://schemas.microsoft.com/office/drawing/2014/main" xmlns="" id="{EACDABC3-91E6-489E-BD75-AECE9345F67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0865" y="34942"/>
            <a:ext cx="691747" cy="696899"/>
          </a:xfrm>
          <a:prstGeom prst="rect">
            <a:avLst/>
          </a:prstGeom>
        </p:spPr>
      </p:pic>
      <p:sp>
        <p:nvSpPr>
          <p:cNvPr id="9" name="Скругленный прямоугольник 33">
            <a:extLst>
              <a:ext uri="{FF2B5EF4-FFF2-40B4-BE49-F238E27FC236}">
                <a16:creationId xmlns:a16="http://schemas.microsoft.com/office/drawing/2014/main" xmlns="" id="{35180EAC-A932-4C50-B8BA-977FAADB65D5}"/>
              </a:ext>
            </a:extLst>
          </p:cNvPr>
          <p:cNvSpPr/>
          <p:nvPr userDrawn="1"/>
        </p:nvSpPr>
        <p:spPr>
          <a:xfrm>
            <a:off x="442913" y="1796873"/>
            <a:ext cx="11053763" cy="3114371"/>
          </a:xfrm>
          <a:prstGeom prst="roundRect">
            <a:avLst/>
          </a:prstGeom>
          <a:solidFill>
            <a:srgbClr val="ECF3FA"/>
          </a:solidFill>
          <a:ln>
            <a:noFill/>
          </a:ln>
        </p:spPr>
        <p:style>
          <a:lnRef idx="2">
            <a:schemeClr val="accent1">
              <a:shade val="50000"/>
            </a:schemeClr>
          </a:lnRef>
          <a:fillRef idx="1">
            <a:schemeClr val="accent1"/>
          </a:fillRef>
          <a:effectRef idx="0">
            <a:schemeClr val="accent1"/>
          </a:effectRef>
          <a:fontRef idx="minor">
            <a:schemeClr val="lt1"/>
          </a:fontRef>
        </p:style>
        <p:txBody>
          <a:bodyPr lIns="68575" tIns="34287" rIns="68575" bIns="34287" rtlCol="0" anchor="ctr"/>
          <a:lstStyle/>
          <a:p>
            <a:pPr algn="ctr" defTabSz="685734">
              <a:defRPr/>
            </a:pPr>
            <a:endParaRPr lang="ru-RU" sz="1400">
              <a:solidFill>
                <a:prstClr val="white"/>
              </a:solidFill>
              <a:latin typeface="Calibri" panose="020F0502020204030204"/>
            </a:endParaRPr>
          </a:p>
        </p:txBody>
      </p:sp>
      <p:sp>
        <p:nvSpPr>
          <p:cNvPr id="11" name="TextBox 10">
            <a:extLst>
              <a:ext uri="{FF2B5EF4-FFF2-40B4-BE49-F238E27FC236}">
                <a16:creationId xmlns:a16="http://schemas.microsoft.com/office/drawing/2014/main" xmlns="" id="{04C18E83-D808-4986-B996-5910CFDB1DE9}"/>
              </a:ext>
            </a:extLst>
          </p:cNvPr>
          <p:cNvSpPr txBox="1"/>
          <p:nvPr userDrawn="1"/>
        </p:nvSpPr>
        <p:spPr>
          <a:xfrm>
            <a:off x="700673" y="1690510"/>
            <a:ext cx="494135" cy="3460947"/>
          </a:xfrm>
          <a:prstGeom prst="rect">
            <a:avLst/>
          </a:prstGeom>
          <a:noFill/>
        </p:spPr>
        <p:txBody>
          <a:bodyPr wrap="square" rtlCol="0">
            <a:spAutoFit/>
          </a:bodyPr>
          <a:lstStyle/>
          <a:p>
            <a:pPr>
              <a:lnSpc>
                <a:spcPct val="110000"/>
              </a:lnSpc>
            </a:pPr>
            <a:r>
              <a:rPr lang="ru-RU" sz="19900" dirty="0">
                <a:solidFill>
                  <a:srgbClr val="1890FB"/>
                </a:solidFill>
                <a:latin typeface="Arial" panose="020B0604020202020204" pitchFamily="34" charset="0"/>
                <a:cs typeface="Arial" panose="020B0604020202020204" pitchFamily="34" charset="0"/>
              </a:rPr>
              <a:t>!</a:t>
            </a:r>
            <a:endParaRPr lang="ru-RU" sz="199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xmlns="" id="{B118BC87-99F1-4630-A112-B5116EB38433}"/>
              </a:ext>
            </a:extLst>
          </p:cNvPr>
          <p:cNvSpPr>
            <a:spLocks noGrp="1"/>
          </p:cNvSpPr>
          <p:nvPr>
            <p:ph type="body" sz="quarter" idx="11"/>
          </p:nvPr>
        </p:nvSpPr>
        <p:spPr>
          <a:xfrm>
            <a:off x="1879602" y="2227545"/>
            <a:ext cx="9029700" cy="2253025"/>
          </a:xfrm>
        </p:spPr>
        <p:txBody>
          <a:bodyPr/>
          <a:lstStyle>
            <a:lvl1pPr marL="0" indent="0">
              <a:buNone/>
              <a:defRPr b="0">
                <a:solidFill>
                  <a:srgbClr val="000000"/>
                </a:solidFill>
              </a:defRPr>
            </a:lvl1pPr>
          </a:lstStyle>
          <a:p>
            <a:pPr lvl="0"/>
            <a:endParaRPr lang="en-US" dirty="0"/>
          </a:p>
        </p:txBody>
      </p:sp>
    </p:spTree>
    <p:extLst>
      <p:ext uri="{BB962C8B-B14F-4D97-AF65-F5344CB8AC3E}">
        <p14:creationId xmlns:p14="http://schemas.microsoft.com/office/powerpoint/2010/main" val="1271925300"/>
      </p:ext>
    </p:extLst>
  </p:cSld>
  <p:clrMapOvr>
    <a:masterClrMapping/>
  </p:clrMapOvr>
  <p:extLst>
    <p:ext uri="{DCECCB84-F9BA-43D5-87BE-67443E8EF086}">
      <p15:sldGuideLst xmlns:p15="http://schemas.microsoft.com/office/powerpoint/2012/main">
        <p15:guide id="1" pos="7243">
          <p15:clr>
            <a:srgbClr val="FBAE40"/>
          </p15:clr>
        </p15:guide>
        <p15:guide id="2" pos="597">
          <p15:clr>
            <a:srgbClr val="FBAE40"/>
          </p15:clr>
        </p15:guide>
        <p15:guide id="3" pos="2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Текст">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FFDF5ABC-2F51-4348-936E-5C87AD6348D0}"/>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3000" contrast="18000"/>
                    </a14:imgEffect>
                  </a14:imgLayer>
                </a14:imgProps>
              </a:ext>
            </a:extLst>
          </a:blip>
          <a:srcRect l="32442"/>
          <a:stretch/>
        </p:blipFill>
        <p:spPr>
          <a:xfrm>
            <a:off x="0" y="5776246"/>
            <a:ext cx="12192000" cy="1081754"/>
          </a:xfrm>
          <a:prstGeom prst="rect">
            <a:avLst/>
          </a:prstGeom>
        </p:spPr>
      </p:pic>
      <p:sp>
        <p:nvSpPr>
          <p:cNvPr id="13" name="Slide Number Placeholder 6">
            <a:extLst>
              <a:ext uri="{FF2B5EF4-FFF2-40B4-BE49-F238E27FC236}">
                <a16:creationId xmlns:a16="http://schemas.microsoft.com/office/drawing/2014/main" xmlns="" id="{C1BAB3E4-8CDB-4F6A-B3E4-6E0AAEA08B5E}"/>
              </a:ext>
            </a:extLst>
          </p:cNvPr>
          <p:cNvSpPr>
            <a:spLocks noGrp="1"/>
          </p:cNvSpPr>
          <p:nvPr>
            <p:ph type="sldNum" sz="quarter" idx="10"/>
          </p:nvPr>
        </p:nvSpPr>
        <p:spPr>
          <a:xfrm>
            <a:off x="8743949" y="6334130"/>
            <a:ext cx="2743200" cy="365125"/>
          </a:xfrm>
        </p:spPr>
        <p:txBody>
          <a:bodyPr/>
          <a:lstStyle>
            <a:lvl1pPr>
              <a:defRPr sz="1400"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a16="http://schemas.microsoft.com/office/drawing/2014/main" xmlns="" id="{0E651BF2-C6BE-42E0-B646-8F3DC2D7D273}"/>
              </a:ext>
            </a:extLst>
          </p:cNvPr>
          <p:cNvSpPr/>
          <p:nvPr userDrawn="1"/>
        </p:nvSpPr>
        <p:spPr>
          <a:xfrm>
            <a:off x="0" y="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16" name="Title 2">
            <a:extLst>
              <a:ext uri="{FF2B5EF4-FFF2-40B4-BE49-F238E27FC236}">
                <a16:creationId xmlns:a16="http://schemas.microsoft.com/office/drawing/2014/main" xmlns="" id="{74242212-74B6-428E-A4FD-D6259025E325}"/>
              </a:ext>
            </a:extLst>
          </p:cNvPr>
          <p:cNvSpPr>
            <a:spLocks noGrp="1"/>
          </p:cNvSpPr>
          <p:nvPr>
            <p:ph type="title"/>
          </p:nvPr>
        </p:nvSpPr>
        <p:spPr>
          <a:xfrm>
            <a:off x="962025" y="4"/>
            <a:ext cx="10534651" cy="838199"/>
          </a:xfrm>
        </p:spPr>
        <p:txBody>
          <a:bodyPr anchor="ctr">
            <a:normAutofit/>
          </a:bodyPr>
          <a:lstStyle>
            <a:lvl1pPr>
              <a:tabLst>
                <a:tab pos="809625" algn="l"/>
              </a:tabLst>
              <a:defRPr sz="2400" b="1">
                <a:solidFill>
                  <a:schemeClr val="tx1"/>
                </a:solidFill>
              </a:defRPr>
            </a:lvl1pPr>
          </a:lstStyle>
          <a:p>
            <a:pPr>
              <a:tabLst>
                <a:tab pos="809625" algn="l"/>
              </a:tabLst>
            </a:pPr>
            <a:endParaRPr lang="ru-RU" dirty="0"/>
          </a:p>
        </p:txBody>
      </p:sp>
      <p:pic>
        <p:nvPicPr>
          <p:cNvPr id="17" name="Рисунок 38">
            <a:extLst>
              <a:ext uri="{FF2B5EF4-FFF2-40B4-BE49-F238E27FC236}">
                <a16:creationId xmlns:a16="http://schemas.microsoft.com/office/drawing/2014/main" xmlns="" id="{EACDABC3-91E6-489E-BD75-AECE9345F67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0865" y="34942"/>
            <a:ext cx="691747" cy="696899"/>
          </a:xfrm>
          <a:prstGeom prst="rect">
            <a:avLst/>
          </a:prstGeom>
        </p:spPr>
      </p:pic>
      <p:sp>
        <p:nvSpPr>
          <p:cNvPr id="23" name="Скругленный прямоугольник 62">
            <a:extLst>
              <a:ext uri="{FF2B5EF4-FFF2-40B4-BE49-F238E27FC236}">
                <a16:creationId xmlns:a16="http://schemas.microsoft.com/office/drawing/2014/main" xmlns="" id="{6F88CC8F-CF2E-4730-9A5B-0B168CF040FD}"/>
              </a:ext>
            </a:extLst>
          </p:cNvPr>
          <p:cNvSpPr/>
          <p:nvPr/>
        </p:nvSpPr>
        <p:spPr>
          <a:xfrm>
            <a:off x="9499603" y="1872156"/>
            <a:ext cx="2009775" cy="3113695"/>
          </a:xfrm>
          <a:prstGeom prst="roundRect">
            <a:avLst/>
          </a:prstGeom>
          <a:solidFill>
            <a:srgbClr val="ECF3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533" tIns="53767" rIns="107533" bIns="53767" rtlCol="0" anchor="ctr"/>
          <a:lstStyle>
            <a:defPPr>
              <a:defRPr lang="ru-RU"/>
            </a:defPPr>
            <a:lvl1pPr marL="0" algn="l" defTabSz="1075334" rtl="0" eaLnBrk="1" latinLnBrk="0" hangingPunct="1">
              <a:defRPr sz="2200" kern="1200">
                <a:solidFill>
                  <a:schemeClr val="lt1"/>
                </a:solidFill>
                <a:latin typeface="+mn-lt"/>
                <a:ea typeface="+mn-ea"/>
                <a:cs typeface="+mn-cs"/>
              </a:defRPr>
            </a:lvl1pPr>
            <a:lvl2pPr marL="537667" algn="l" defTabSz="1075334" rtl="0" eaLnBrk="1" latinLnBrk="0" hangingPunct="1">
              <a:defRPr sz="2200" kern="1200">
                <a:solidFill>
                  <a:schemeClr val="lt1"/>
                </a:solidFill>
                <a:latin typeface="+mn-lt"/>
                <a:ea typeface="+mn-ea"/>
                <a:cs typeface="+mn-cs"/>
              </a:defRPr>
            </a:lvl2pPr>
            <a:lvl3pPr marL="1075334" algn="l" defTabSz="1075334" rtl="0" eaLnBrk="1" latinLnBrk="0" hangingPunct="1">
              <a:defRPr sz="2200" kern="1200">
                <a:solidFill>
                  <a:schemeClr val="lt1"/>
                </a:solidFill>
                <a:latin typeface="+mn-lt"/>
                <a:ea typeface="+mn-ea"/>
                <a:cs typeface="+mn-cs"/>
              </a:defRPr>
            </a:lvl3pPr>
            <a:lvl4pPr marL="1613002" algn="l" defTabSz="1075334" rtl="0" eaLnBrk="1" latinLnBrk="0" hangingPunct="1">
              <a:defRPr sz="2200" kern="1200">
                <a:solidFill>
                  <a:schemeClr val="lt1"/>
                </a:solidFill>
                <a:latin typeface="+mn-lt"/>
                <a:ea typeface="+mn-ea"/>
                <a:cs typeface="+mn-cs"/>
              </a:defRPr>
            </a:lvl4pPr>
            <a:lvl5pPr marL="2150669" algn="l" defTabSz="1075334" rtl="0" eaLnBrk="1" latinLnBrk="0" hangingPunct="1">
              <a:defRPr sz="2200" kern="1200">
                <a:solidFill>
                  <a:schemeClr val="lt1"/>
                </a:solidFill>
                <a:latin typeface="+mn-lt"/>
                <a:ea typeface="+mn-ea"/>
                <a:cs typeface="+mn-cs"/>
              </a:defRPr>
            </a:lvl5pPr>
            <a:lvl6pPr marL="2688336" algn="l" defTabSz="1075334" rtl="0" eaLnBrk="1" latinLnBrk="0" hangingPunct="1">
              <a:defRPr sz="2200" kern="1200">
                <a:solidFill>
                  <a:schemeClr val="lt1"/>
                </a:solidFill>
                <a:latin typeface="+mn-lt"/>
                <a:ea typeface="+mn-ea"/>
                <a:cs typeface="+mn-cs"/>
              </a:defRPr>
            </a:lvl6pPr>
            <a:lvl7pPr marL="3226003" algn="l" defTabSz="1075334" rtl="0" eaLnBrk="1" latinLnBrk="0" hangingPunct="1">
              <a:defRPr sz="2200" kern="1200">
                <a:solidFill>
                  <a:schemeClr val="lt1"/>
                </a:solidFill>
                <a:latin typeface="+mn-lt"/>
                <a:ea typeface="+mn-ea"/>
                <a:cs typeface="+mn-cs"/>
              </a:defRPr>
            </a:lvl7pPr>
            <a:lvl8pPr marL="3763670" algn="l" defTabSz="1075334" rtl="0" eaLnBrk="1" latinLnBrk="0" hangingPunct="1">
              <a:defRPr sz="2200" kern="1200">
                <a:solidFill>
                  <a:schemeClr val="lt1"/>
                </a:solidFill>
                <a:latin typeface="+mn-lt"/>
                <a:ea typeface="+mn-ea"/>
                <a:cs typeface="+mn-cs"/>
              </a:defRPr>
            </a:lvl8pPr>
            <a:lvl9pPr marL="4301338" algn="l" defTabSz="1075334" rtl="0" eaLnBrk="1" latinLnBrk="0" hangingPunct="1">
              <a:defRPr sz="2200" kern="1200">
                <a:solidFill>
                  <a:schemeClr val="lt1"/>
                </a:solidFill>
                <a:latin typeface="+mn-lt"/>
                <a:ea typeface="+mn-ea"/>
                <a:cs typeface="+mn-cs"/>
              </a:defRPr>
            </a:lvl9pPr>
          </a:lstStyle>
          <a:p>
            <a:pPr algn="ctr"/>
            <a:endParaRPr lang="ru-RU" sz="2200" dirty="0">
              <a:solidFill>
                <a:srgbClr val="1075A0"/>
              </a:solidFill>
              <a:latin typeface="Arial" panose="020B0604020202020204" pitchFamily="34" charset="0"/>
              <a:ea typeface="Segoe UI Symbol" panose="020B0502040204020203" pitchFamily="34" charset="0"/>
              <a:cs typeface="Arial" panose="020B0604020202020204" pitchFamily="34" charset="0"/>
            </a:endParaRPr>
          </a:p>
        </p:txBody>
      </p:sp>
      <p:sp>
        <p:nvSpPr>
          <p:cNvPr id="45" name="Скругленный прямоугольник 62">
            <a:extLst>
              <a:ext uri="{FF2B5EF4-FFF2-40B4-BE49-F238E27FC236}">
                <a16:creationId xmlns:a16="http://schemas.microsoft.com/office/drawing/2014/main" xmlns="" id="{96407B50-B7EF-468E-B043-31B1E8188E02}"/>
              </a:ext>
            </a:extLst>
          </p:cNvPr>
          <p:cNvSpPr/>
          <p:nvPr userDrawn="1"/>
        </p:nvSpPr>
        <p:spPr>
          <a:xfrm>
            <a:off x="7235431" y="1872156"/>
            <a:ext cx="2009775" cy="3113695"/>
          </a:xfrm>
          <a:prstGeom prst="roundRect">
            <a:avLst/>
          </a:prstGeom>
          <a:solidFill>
            <a:srgbClr val="ECF3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533" tIns="53767" rIns="107533" bIns="53767" rtlCol="0" anchor="ctr"/>
          <a:lstStyle>
            <a:defPPr>
              <a:defRPr lang="ru-RU"/>
            </a:defPPr>
            <a:lvl1pPr marL="0" algn="l" defTabSz="1075334" rtl="0" eaLnBrk="1" latinLnBrk="0" hangingPunct="1">
              <a:defRPr sz="2200" kern="1200">
                <a:solidFill>
                  <a:schemeClr val="lt1"/>
                </a:solidFill>
                <a:latin typeface="+mn-lt"/>
                <a:ea typeface="+mn-ea"/>
                <a:cs typeface="+mn-cs"/>
              </a:defRPr>
            </a:lvl1pPr>
            <a:lvl2pPr marL="537667" algn="l" defTabSz="1075334" rtl="0" eaLnBrk="1" latinLnBrk="0" hangingPunct="1">
              <a:defRPr sz="2200" kern="1200">
                <a:solidFill>
                  <a:schemeClr val="lt1"/>
                </a:solidFill>
                <a:latin typeface="+mn-lt"/>
                <a:ea typeface="+mn-ea"/>
                <a:cs typeface="+mn-cs"/>
              </a:defRPr>
            </a:lvl2pPr>
            <a:lvl3pPr marL="1075334" algn="l" defTabSz="1075334" rtl="0" eaLnBrk="1" latinLnBrk="0" hangingPunct="1">
              <a:defRPr sz="2200" kern="1200">
                <a:solidFill>
                  <a:schemeClr val="lt1"/>
                </a:solidFill>
                <a:latin typeface="+mn-lt"/>
                <a:ea typeface="+mn-ea"/>
                <a:cs typeface="+mn-cs"/>
              </a:defRPr>
            </a:lvl3pPr>
            <a:lvl4pPr marL="1613002" algn="l" defTabSz="1075334" rtl="0" eaLnBrk="1" latinLnBrk="0" hangingPunct="1">
              <a:defRPr sz="2200" kern="1200">
                <a:solidFill>
                  <a:schemeClr val="lt1"/>
                </a:solidFill>
                <a:latin typeface="+mn-lt"/>
                <a:ea typeface="+mn-ea"/>
                <a:cs typeface="+mn-cs"/>
              </a:defRPr>
            </a:lvl4pPr>
            <a:lvl5pPr marL="2150669" algn="l" defTabSz="1075334" rtl="0" eaLnBrk="1" latinLnBrk="0" hangingPunct="1">
              <a:defRPr sz="2200" kern="1200">
                <a:solidFill>
                  <a:schemeClr val="lt1"/>
                </a:solidFill>
                <a:latin typeface="+mn-lt"/>
                <a:ea typeface="+mn-ea"/>
                <a:cs typeface="+mn-cs"/>
              </a:defRPr>
            </a:lvl5pPr>
            <a:lvl6pPr marL="2688336" algn="l" defTabSz="1075334" rtl="0" eaLnBrk="1" latinLnBrk="0" hangingPunct="1">
              <a:defRPr sz="2200" kern="1200">
                <a:solidFill>
                  <a:schemeClr val="lt1"/>
                </a:solidFill>
                <a:latin typeface="+mn-lt"/>
                <a:ea typeface="+mn-ea"/>
                <a:cs typeface="+mn-cs"/>
              </a:defRPr>
            </a:lvl6pPr>
            <a:lvl7pPr marL="3226003" algn="l" defTabSz="1075334" rtl="0" eaLnBrk="1" latinLnBrk="0" hangingPunct="1">
              <a:defRPr sz="2200" kern="1200">
                <a:solidFill>
                  <a:schemeClr val="lt1"/>
                </a:solidFill>
                <a:latin typeface="+mn-lt"/>
                <a:ea typeface="+mn-ea"/>
                <a:cs typeface="+mn-cs"/>
              </a:defRPr>
            </a:lvl7pPr>
            <a:lvl8pPr marL="3763670" algn="l" defTabSz="1075334" rtl="0" eaLnBrk="1" latinLnBrk="0" hangingPunct="1">
              <a:defRPr sz="2200" kern="1200">
                <a:solidFill>
                  <a:schemeClr val="lt1"/>
                </a:solidFill>
                <a:latin typeface="+mn-lt"/>
                <a:ea typeface="+mn-ea"/>
                <a:cs typeface="+mn-cs"/>
              </a:defRPr>
            </a:lvl8pPr>
            <a:lvl9pPr marL="4301338" algn="l" defTabSz="1075334" rtl="0" eaLnBrk="1" latinLnBrk="0" hangingPunct="1">
              <a:defRPr sz="2200" kern="1200">
                <a:solidFill>
                  <a:schemeClr val="lt1"/>
                </a:solidFill>
                <a:latin typeface="+mn-lt"/>
                <a:ea typeface="+mn-ea"/>
                <a:cs typeface="+mn-cs"/>
              </a:defRPr>
            </a:lvl9pPr>
          </a:lstStyle>
          <a:p>
            <a:pPr algn="ctr"/>
            <a:endParaRPr lang="ru-RU" sz="2200" dirty="0">
              <a:solidFill>
                <a:srgbClr val="1075A0"/>
              </a:solidFill>
              <a:latin typeface="Arial" panose="020B0604020202020204" pitchFamily="34" charset="0"/>
              <a:ea typeface="Segoe UI Symbol" panose="020B0502040204020203" pitchFamily="34" charset="0"/>
              <a:cs typeface="Arial" panose="020B0604020202020204" pitchFamily="34" charset="0"/>
            </a:endParaRPr>
          </a:p>
        </p:txBody>
      </p:sp>
      <p:sp>
        <p:nvSpPr>
          <p:cNvPr id="46" name="Скругленный прямоугольник 62">
            <a:extLst>
              <a:ext uri="{FF2B5EF4-FFF2-40B4-BE49-F238E27FC236}">
                <a16:creationId xmlns:a16="http://schemas.microsoft.com/office/drawing/2014/main" xmlns="" id="{FAAE2D12-3A60-49FA-9D17-4F3A5DEF32A9}"/>
              </a:ext>
            </a:extLst>
          </p:cNvPr>
          <p:cNvSpPr/>
          <p:nvPr userDrawn="1"/>
        </p:nvSpPr>
        <p:spPr>
          <a:xfrm>
            <a:off x="4971259" y="1872156"/>
            <a:ext cx="2009775" cy="3113695"/>
          </a:xfrm>
          <a:prstGeom prst="roundRect">
            <a:avLst/>
          </a:prstGeom>
          <a:solidFill>
            <a:srgbClr val="ECF3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533" tIns="53767" rIns="107533" bIns="53767" rtlCol="0" anchor="ctr"/>
          <a:lstStyle>
            <a:defPPr>
              <a:defRPr lang="ru-RU"/>
            </a:defPPr>
            <a:lvl1pPr marL="0" algn="l" defTabSz="1075334" rtl="0" eaLnBrk="1" latinLnBrk="0" hangingPunct="1">
              <a:defRPr sz="2200" kern="1200">
                <a:solidFill>
                  <a:schemeClr val="lt1"/>
                </a:solidFill>
                <a:latin typeface="+mn-lt"/>
                <a:ea typeface="+mn-ea"/>
                <a:cs typeface="+mn-cs"/>
              </a:defRPr>
            </a:lvl1pPr>
            <a:lvl2pPr marL="537667" algn="l" defTabSz="1075334" rtl="0" eaLnBrk="1" latinLnBrk="0" hangingPunct="1">
              <a:defRPr sz="2200" kern="1200">
                <a:solidFill>
                  <a:schemeClr val="lt1"/>
                </a:solidFill>
                <a:latin typeface="+mn-lt"/>
                <a:ea typeface="+mn-ea"/>
                <a:cs typeface="+mn-cs"/>
              </a:defRPr>
            </a:lvl2pPr>
            <a:lvl3pPr marL="1075334" algn="l" defTabSz="1075334" rtl="0" eaLnBrk="1" latinLnBrk="0" hangingPunct="1">
              <a:defRPr sz="2200" kern="1200">
                <a:solidFill>
                  <a:schemeClr val="lt1"/>
                </a:solidFill>
                <a:latin typeface="+mn-lt"/>
                <a:ea typeface="+mn-ea"/>
                <a:cs typeface="+mn-cs"/>
              </a:defRPr>
            </a:lvl3pPr>
            <a:lvl4pPr marL="1613002" algn="l" defTabSz="1075334" rtl="0" eaLnBrk="1" latinLnBrk="0" hangingPunct="1">
              <a:defRPr sz="2200" kern="1200">
                <a:solidFill>
                  <a:schemeClr val="lt1"/>
                </a:solidFill>
                <a:latin typeface="+mn-lt"/>
                <a:ea typeface="+mn-ea"/>
                <a:cs typeface="+mn-cs"/>
              </a:defRPr>
            </a:lvl4pPr>
            <a:lvl5pPr marL="2150669" algn="l" defTabSz="1075334" rtl="0" eaLnBrk="1" latinLnBrk="0" hangingPunct="1">
              <a:defRPr sz="2200" kern="1200">
                <a:solidFill>
                  <a:schemeClr val="lt1"/>
                </a:solidFill>
                <a:latin typeface="+mn-lt"/>
                <a:ea typeface="+mn-ea"/>
                <a:cs typeface="+mn-cs"/>
              </a:defRPr>
            </a:lvl5pPr>
            <a:lvl6pPr marL="2688336" algn="l" defTabSz="1075334" rtl="0" eaLnBrk="1" latinLnBrk="0" hangingPunct="1">
              <a:defRPr sz="2200" kern="1200">
                <a:solidFill>
                  <a:schemeClr val="lt1"/>
                </a:solidFill>
                <a:latin typeface="+mn-lt"/>
                <a:ea typeface="+mn-ea"/>
                <a:cs typeface="+mn-cs"/>
              </a:defRPr>
            </a:lvl6pPr>
            <a:lvl7pPr marL="3226003" algn="l" defTabSz="1075334" rtl="0" eaLnBrk="1" latinLnBrk="0" hangingPunct="1">
              <a:defRPr sz="2200" kern="1200">
                <a:solidFill>
                  <a:schemeClr val="lt1"/>
                </a:solidFill>
                <a:latin typeface="+mn-lt"/>
                <a:ea typeface="+mn-ea"/>
                <a:cs typeface="+mn-cs"/>
              </a:defRPr>
            </a:lvl7pPr>
            <a:lvl8pPr marL="3763670" algn="l" defTabSz="1075334" rtl="0" eaLnBrk="1" latinLnBrk="0" hangingPunct="1">
              <a:defRPr sz="2200" kern="1200">
                <a:solidFill>
                  <a:schemeClr val="lt1"/>
                </a:solidFill>
                <a:latin typeface="+mn-lt"/>
                <a:ea typeface="+mn-ea"/>
                <a:cs typeface="+mn-cs"/>
              </a:defRPr>
            </a:lvl8pPr>
            <a:lvl9pPr marL="4301338" algn="l" defTabSz="1075334" rtl="0" eaLnBrk="1" latinLnBrk="0" hangingPunct="1">
              <a:defRPr sz="2200" kern="1200">
                <a:solidFill>
                  <a:schemeClr val="lt1"/>
                </a:solidFill>
                <a:latin typeface="+mn-lt"/>
                <a:ea typeface="+mn-ea"/>
                <a:cs typeface="+mn-cs"/>
              </a:defRPr>
            </a:lvl9pPr>
          </a:lstStyle>
          <a:p>
            <a:pPr algn="ctr"/>
            <a:endParaRPr lang="ru-RU" sz="2200" dirty="0">
              <a:solidFill>
                <a:srgbClr val="1075A0"/>
              </a:solidFill>
              <a:latin typeface="Arial" panose="020B0604020202020204" pitchFamily="34" charset="0"/>
              <a:ea typeface="Segoe UI Symbol" panose="020B0502040204020203" pitchFamily="34" charset="0"/>
              <a:cs typeface="Arial" panose="020B0604020202020204" pitchFamily="34" charset="0"/>
            </a:endParaRPr>
          </a:p>
        </p:txBody>
      </p:sp>
      <p:sp>
        <p:nvSpPr>
          <p:cNvPr id="47" name="Скругленный прямоугольник 62">
            <a:extLst>
              <a:ext uri="{FF2B5EF4-FFF2-40B4-BE49-F238E27FC236}">
                <a16:creationId xmlns:a16="http://schemas.microsoft.com/office/drawing/2014/main" xmlns="" id="{D20BBF88-8173-483F-9B6F-4F84C3851A84}"/>
              </a:ext>
            </a:extLst>
          </p:cNvPr>
          <p:cNvSpPr/>
          <p:nvPr userDrawn="1"/>
        </p:nvSpPr>
        <p:spPr>
          <a:xfrm>
            <a:off x="2707087" y="1872156"/>
            <a:ext cx="2009775" cy="3113695"/>
          </a:xfrm>
          <a:prstGeom prst="roundRect">
            <a:avLst/>
          </a:prstGeom>
          <a:solidFill>
            <a:srgbClr val="ECF3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533" tIns="53767" rIns="107533" bIns="53767" rtlCol="0" anchor="ctr"/>
          <a:lstStyle>
            <a:defPPr>
              <a:defRPr lang="ru-RU"/>
            </a:defPPr>
            <a:lvl1pPr marL="0" algn="l" defTabSz="1075334" rtl="0" eaLnBrk="1" latinLnBrk="0" hangingPunct="1">
              <a:defRPr sz="2200" kern="1200">
                <a:solidFill>
                  <a:schemeClr val="lt1"/>
                </a:solidFill>
                <a:latin typeface="+mn-lt"/>
                <a:ea typeface="+mn-ea"/>
                <a:cs typeface="+mn-cs"/>
              </a:defRPr>
            </a:lvl1pPr>
            <a:lvl2pPr marL="537667" algn="l" defTabSz="1075334" rtl="0" eaLnBrk="1" latinLnBrk="0" hangingPunct="1">
              <a:defRPr sz="2200" kern="1200">
                <a:solidFill>
                  <a:schemeClr val="lt1"/>
                </a:solidFill>
                <a:latin typeface="+mn-lt"/>
                <a:ea typeface="+mn-ea"/>
                <a:cs typeface="+mn-cs"/>
              </a:defRPr>
            </a:lvl2pPr>
            <a:lvl3pPr marL="1075334" algn="l" defTabSz="1075334" rtl="0" eaLnBrk="1" latinLnBrk="0" hangingPunct="1">
              <a:defRPr sz="2200" kern="1200">
                <a:solidFill>
                  <a:schemeClr val="lt1"/>
                </a:solidFill>
                <a:latin typeface="+mn-lt"/>
                <a:ea typeface="+mn-ea"/>
                <a:cs typeface="+mn-cs"/>
              </a:defRPr>
            </a:lvl3pPr>
            <a:lvl4pPr marL="1613002" algn="l" defTabSz="1075334" rtl="0" eaLnBrk="1" latinLnBrk="0" hangingPunct="1">
              <a:defRPr sz="2200" kern="1200">
                <a:solidFill>
                  <a:schemeClr val="lt1"/>
                </a:solidFill>
                <a:latin typeface="+mn-lt"/>
                <a:ea typeface="+mn-ea"/>
                <a:cs typeface="+mn-cs"/>
              </a:defRPr>
            </a:lvl4pPr>
            <a:lvl5pPr marL="2150669" algn="l" defTabSz="1075334" rtl="0" eaLnBrk="1" latinLnBrk="0" hangingPunct="1">
              <a:defRPr sz="2200" kern="1200">
                <a:solidFill>
                  <a:schemeClr val="lt1"/>
                </a:solidFill>
                <a:latin typeface="+mn-lt"/>
                <a:ea typeface="+mn-ea"/>
                <a:cs typeface="+mn-cs"/>
              </a:defRPr>
            </a:lvl5pPr>
            <a:lvl6pPr marL="2688336" algn="l" defTabSz="1075334" rtl="0" eaLnBrk="1" latinLnBrk="0" hangingPunct="1">
              <a:defRPr sz="2200" kern="1200">
                <a:solidFill>
                  <a:schemeClr val="lt1"/>
                </a:solidFill>
                <a:latin typeface="+mn-lt"/>
                <a:ea typeface="+mn-ea"/>
                <a:cs typeface="+mn-cs"/>
              </a:defRPr>
            </a:lvl6pPr>
            <a:lvl7pPr marL="3226003" algn="l" defTabSz="1075334" rtl="0" eaLnBrk="1" latinLnBrk="0" hangingPunct="1">
              <a:defRPr sz="2200" kern="1200">
                <a:solidFill>
                  <a:schemeClr val="lt1"/>
                </a:solidFill>
                <a:latin typeface="+mn-lt"/>
                <a:ea typeface="+mn-ea"/>
                <a:cs typeface="+mn-cs"/>
              </a:defRPr>
            </a:lvl7pPr>
            <a:lvl8pPr marL="3763670" algn="l" defTabSz="1075334" rtl="0" eaLnBrk="1" latinLnBrk="0" hangingPunct="1">
              <a:defRPr sz="2200" kern="1200">
                <a:solidFill>
                  <a:schemeClr val="lt1"/>
                </a:solidFill>
                <a:latin typeface="+mn-lt"/>
                <a:ea typeface="+mn-ea"/>
                <a:cs typeface="+mn-cs"/>
              </a:defRPr>
            </a:lvl8pPr>
            <a:lvl9pPr marL="4301338" algn="l" defTabSz="1075334" rtl="0" eaLnBrk="1" latinLnBrk="0" hangingPunct="1">
              <a:defRPr sz="2200" kern="1200">
                <a:solidFill>
                  <a:schemeClr val="lt1"/>
                </a:solidFill>
                <a:latin typeface="+mn-lt"/>
                <a:ea typeface="+mn-ea"/>
                <a:cs typeface="+mn-cs"/>
              </a:defRPr>
            </a:lvl9pPr>
          </a:lstStyle>
          <a:p>
            <a:pPr algn="ctr"/>
            <a:endParaRPr lang="ru-RU" sz="2200" dirty="0">
              <a:solidFill>
                <a:srgbClr val="1075A0"/>
              </a:solidFill>
              <a:latin typeface="Arial" panose="020B0604020202020204" pitchFamily="34" charset="0"/>
              <a:ea typeface="Segoe UI Symbol" panose="020B0502040204020203" pitchFamily="34" charset="0"/>
              <a:cs typeface="Arial" panose="020B0604020202020204" pitchFamily="34" charset="0"/>
            </a:endParaRPr>
          </a:p>
        </p:txBody>
      </p:sp>
      <p:sp>
        <p:nvSpPr>
          <p:cNvPr id="48" name="Скругленный прямоугольник 62">
            <a:extLst>
              <a:ext uri="{FF2B5EF4-FFF2-40B4-BE49-F238E27FC236}">
                <a16:creationId xmlns:a16="http://schemas.microsoft.com/office/drawing/2014/main" xmlns="" id="{554D74F5-843B-4172-B410-43CCC36E5AD3}"/>
              </a:ext>
            </a:extLst>
          </p:cNvPr>
          <p:cNvSpPr/>
          <p:nvPr userDrawn="1"/>
        </p:nvSpPr>
        <p:spPr>
          <a:xfrm>
            <a:off x="442915" y="1872156"/>
            <a:ext cx="2009775" cy="3113695"/>
          </a:xfrm>
          <a:prstGeom prst="roundRect">
            <a:avLst/>
          </a:prstGeom>
          <a:solidFill>
            <a:srgbClr val="ECF3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7533" tIns="53767" rIns="107533" bIns="53767" rtlCol="0" anchor="ctr"/>
          <a:lstStyle>
            <a:defPPr>
              <a:defRPr lang="ru-RU"/>
            </a:defPPr>
            <a:lvl1pPr marL="0" algn="l" defTabSz="1075334" rtl="0" eaLnBrk="1" latinLnBrk="0" hangingPunct="1">
              <a:defRPr sz="2200" kern="1200">
                <a:solidFill>
                  <a:schemeClr val="lt1"/>
                </a:solidFill>
                <a:latin typeface="+mn-lt"/>
                <a:ea typeface="+mn-ea"/>
                <a:cs typeface="+mn-cs"/>
              </a:defRPr>
            </a:lvl1pPr>
            <a:lvl2pPr marL="537667" algn="l" defTabSz="1075334" rtl="0" eaLnBrk="1" latinLnBrk="0" hangingPunct="1">
              <a:defRPr sz="2200" kern="1200">
                <a:solidFill>
                  <a:schemeClr val="lt1"/>
                </a:solidFill>
                <a:latin typeface="+mn-lt"/>
                <a:ea typeface="+mn-ea"/>
                <a:cs typeface="+mn-cs"/>
              </a:defRPr>
            </a:lvl2pPr>
            <a:lvl3pPr marL="1075334" algn="l" defTabSz="1075334" rtl="0" eaLnBrk="1" latinLnBrk="0" hangingPunct="1">
              <a:defRPr sz="2200" kern="1200">
                <a:solidFill>
                  <a:schemeClr val="lt1"/>
                </a:solidFill>
                <a:latin typeface="+mn-lt"/>
                <a:ea typeface="+mn-ea"/>
                <a:cs typeface="+mn-cs"/>
              </a:defRPr>
            </a:lvl3pPr>
            <a:lvl4pPr marL="1613002" algn="l" defTabSz="1075334" rtl="0" eaLnBrk="1" latinLnBrk="0" hangingPunct="1">
              <a:defRPr sz="2200" kern="1200">
                <a:solidFill>
                  <a:schemeClr val="lt1"/>
                </a:solidFill>
                <a:latin typeface="+mn-lt"/>
                <a:ea typeface="+mn-ea"/>
                <a:cs typeface="+mn-cs"/>
              </a:defRPr>
            </a:lvl4pPr>
            <a:lvl5pPr marL="2150669" algn="l" defTabSz="1075334" rtl="0" eaLnBrk="1" latinLnBrk="0" hangingPunct="1">
              <a:defRPr sz="2200" kern="1200">
                <a:solidFill>
                  <a:schemeClr val="lt1"/>
                </a:solidFill>
                <a:latin typeface="+mn-lt"/>
                <a:ea typeface="+mn-ea"/>
                <a:cs typeface="+mn-cs"/>
              </a:defRPr>
            </a:lvl5pPr>
            <a:lvl6pPr marL="2688336" algn="l" defTabSz="1075334" rtl="0" eaLnBrk="1" latinLnBrk="0" hangingPunct="1">
              <a:defRPr sz="2200" kern="1200">
                <a:solidFill>
                  <a:schemeClr val="lt1"/>
                </a:solidFill>
                <a:latin typeface="+mn-lt"/>
                <a:ea typeface="+mn-ea"/>
                <a:cs typeface="+mn-cs"/>
              </a:defRPr>
            </a:lvl6pPr>
            <a:lvl7pPr marL="3226003" algn="l" defTabSz="1075334" rtl="0" eaLnBrk="1" latinLnBrk="0" hangingPunct="1">
              <a:defRPr sz="2200" kern="1200">
                <a:solidFill>
                  <a:schemeClr val="lt1"/>
                </a:solidFill>
                <a:latin typeface="+mn-lt"/>
                <a:ea typeface="+mn-ea"/>
                <a:cs typeface="+mn-cs"/>
              </a:defRPr>
            </a:lvl7pPr>
            <a:lvl8pPr marL="3763670" algn="l" defTabSz="1075334" rtl="0" eaLnBrk="1" latinLnBrk="0" hangingPunct="1">
              <a:defRPr sz="2200" kern="1200">
                <a:solidFill>
                  <a:schemeClr val="lt1"/>
                </a:solidFill>
                <a:latin typeface="+mn-lt"/>
                <a:ea typeface="+mn-ea"/>
                <a:cs typeface="+mn-cs"/>
              </a:defRPr>
            </a:lvl8pPr>
            <a:lvl9pPr marL="4301338" algn="l" defTabSz="1075334" rtl="0" eaLnBrk="1" latinLnBrk="0" hangingPunct="1">
              <a:defRPr sz="2200" kern="1200">
                <a:solidFill>
                  <a:schemeClr val="lt1"/>
                </a:solidFill>
                <a:latin typeface="+mn-lt"/>
                <a:ea typeface="+mn-ea"/>
                <a:cs typeface="+mn-cs"/>
              </a:defRPr>
            </a:lvl9pPr>
          </a:lstStyle>
          <a:p>
            <a:pPr algn="ctr"/>
            <a:endParaRPr lang="ru-RU" sz="2200" dirty="0">
              <a:solidFill>
                <a:srgbClr val="1075A0"/>
              </a:solidFill>
              <a:latin typeface="Arial" panose="020B0604020202020204" pitchFamily="34" charset="0"/>
              <a:ea typeface="Segoe UI Symbol" panose="020B0502040204020203"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xmlns="" id="{0F321A80-39A6-4E2F-AA2D-B1CEE8E54A27}"/>
              </a:ext>
            </a:extLst>
          </p:cNvPr>
          <p:cNvSpPr>
            <a:spLocks noGrp="1"/>
          </p:cNvSpPr>
          <p:nvPr>
            <p:ph type="body" sz="quarter" idx="11"/>
          </p:nvPr>
        </p:nvSpPr>
        <p:spPr>
          <a:xfrm>
            <a:off x="633415" y="2057401"/>
            <a:ext cx="1628775" cy="447675"/>
          </a:xfrm>
        </p:spPr>
        <p:txBody>
          <a:bodyPr anchor="ctr">
            <a:noAutofit/>
          </a:bodyPr>
          <a:lstStyle>
            <a:lvl1pPr marL="0" indent="0" algn="ctr">
              <a:buNone/>
              <a:defRPr sz="1600" b="1">
                <a:solidFill>
                  <a:schemeClr val="tx1"/>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49" name="Text Placeholder 2">
            <a:extLst>
              <a:ext uri="{FF2B5EF4-FFF2-40B4-BE49-F238E27FC236}">
                <a16:creationId xmlns:a16="http://schemas.microsoft.com/office/drawing/2014/main" xmlns="" id="{908C485A-9681-448A-81BE-B6CA2642284E}"/>
              </a:ext>
            </a:extLst>
          </p:cNvPr>
          <p:cNvSpPr>
            <a:spLocks noGrp="1"/>
          </p:cNvSpPr>
          <p:nvPr>
            <p:ph type="body" sz="quarter" idx="12"/>
          </p:nvPr>
        </p:nvSpPr>
        <p:spPr>
          <a:xfrm>
            <a:off x="2897587" y="2057403"/>
            <a:ext cx="1628775" cy="447675"/>
          </a:xfrm>
        </p:spPr>
        <p:txBody>
          <a:bodyPr anchor="ctr">
            <a:noAutofit/>
          </a:bodyPr>
          <a:lstStyle>
            <a:lvl1pPr marL="0" indent="0" algn="ctr">
              <a:buNone/>
              <a:defRPr sz="1600" b="1">
                <a:solidFill>
                  <a:schemeClr val="tx1"/>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50" name="Text Placeholder 2">
            <a:extLst>
              <a:ext uri="{FF2B5EF4-FFF2-40B4-BE49-F238E27FC236}">
                <a16:creationId xmlns:a16="http://schemas.microsoft.com/office/drawing/2014/main" xmlns="" id="{1A886CF5-5BF2-4036-93F4-DE5E09696D56}"/>
              </a:ext>
            </a:extLst>
          </p:cNvPr>
          <p:cNvSpPr>
            <a:spLocks noGrp="1"/>
          </p:cNvSpPr>
          <p:nvPr>
            <p:ph type="body" sz="quarter" idx="13"/>
          </p:nvPr>
        </p:nvSpPr>
        <p:spPr>
          <a:xfrm>
            <a:off x="5161759" y="2057402"/>
            <a:ext cx="1628775" cy="447675"/>
          </a:xfrm>
        </p:spPr>
        <p:txBody>
          <a:bodyPr anchor="ctr">
            <a:noAutofit/>
          </a:bodyPr>
          <a:lstStyle>
            <a:lvl1pPr marL="0" indent="0" algn="ctr">
              <a:buNone/>
              <a:defRPr sz="1600" b="1">
                <a:solidFill>
                  <a:schemeClr val="tx1"/>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51" name="Text Placeholder 2">
            <a:extLst>
              <a:ext uri="{FF2B5EF4-FFF2-40B4-BE49-F238E27FC236}">
                <a16:creationId xmlns:a16="http://schemas.microsoft.com/office/drawing/2014/main" xmlns="" id="{95967238-8323-4F8D-ACA2-0762369D1177}"/>
              </a:ext>
            </a:extLst>
          </p:cNvPr>
          <p:cNvSpPr>
            <a:spLocks noGrp="1"/>
          </p:cNvSpPr>
          <p:nvPr>
            <p:ph type="body" sz="quarter" idx="14"/>
          </p:nvPr>
        </p:nvSpPr>
        <p:spPr>
          <a:xfrm>
            <a:off x="7425931" y="2057402"/>
            <a:ext cx="1628775" cy="447675"/>
          </a:xfrm>
        </p:spPr>
        <p:txBody>
          <a:bodyPr anchor="ctr">
            <a:noAutofit/>
          </a:bodyPr>
          <a:lstStyle>
            <a:lvl1pPr marL="0" indent="0" algn="ctr">
              <a:buNone/>
              <a:defRPr sz="1600" b="1">
                <a:solidFill>
                  <a:schemeClr val="tx1"/>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52" name="Text Placeholder 2">
            <a:extLst>
              <a:ext uri="{FF2B5EF4-FFF2-40B4-BE49-F238E27FC236}">
                <a16:creationId xmlns:a16="http://schemas.microsoft.com/office/drawing/2014/main" xmlns="" id="{FF611DAC-2430-4D7B-88D5-B0E41282A578}"/>
              </a:ext>
            </a:extLst>
          </p:cNvPr>
          <p:cNvSpPr>
            <a:spLocks noGrp="1"/>
          </p:cNvSpPr>
          <p:nvPr>
            <p:ph type="body" sz="quarter" idx="15"/>
          </p:nvPr>
        </p:nvSpPr>
        <p:spPr>
          <a:xfrm>
            <a:off x="9690102" y="2057401"/>
            <a:ext cx="1628775" cy="447675"/>
          </a:xfrm>
        </p:spPr>
        <p:txBody>
          <a:bodyPr anchor="ctr">
            <a:noAutofit/>
          </a:bodyPr>
          <a:lstStyle>
            <a:lvl1pPr marL="0" indent="0" algn="ctr">
              <a:buNone/>
              <a:defRPr sz="1600" b="1">
                <a:solidFill>
                  <a:schemeClr val="tx1"/>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53" name="Text Placeholder 2">
            <a:extLst>
              <a:ext uri="{FF2B5EF4-FFF2-40B4-BE49-F238E27FC236}">
                <a16:creationId xmlns:a16="http://schemas.microsoft.com/office/drawing/2014/main" xmlns="" id="{5FCFE675-B460-4BFA-97EA-2ADD07C8DC78}"/>
              </a:ext>
            </a:extLst>
          </p:cNvPr>
          <p:cNvSpPr>
            <a:spLocks noGrp="1"/>
          </p:cNvSpPr>
          <p:nvPr>
            <p:ph type="body" sz="quarter" idx="16"/>
          </p:nvPr>
        </p:nvSpPr>
        <p:spPr>
          <a:xfrm>
            <a:off x="633415" y="2728421"/>
            <a:ext cx="1628775" cy="900605"/>
          </a:xfrm>
        </p:spPr>
        <p:txBody>
          <a:bodyPr anchor="ctr">
            <a:noAutofit/>
          </a:bodyPr>
          <a:lstStyle>
            <a:lvl1pPr marL="0" indent="0" algn="ctr">
              <a:buNone/>
              <a:defRPr sz="2800" b="1">
                <a:solidFill>
                  <a:schemeClr val="accent2"/>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54" name="Text Placeholder 2">
            <a:extLst>
              <a:ext uri="{FF2B5EF4-FFF2-40B4-BE49-F238E27FC236}">
                <a16:creationId xmlns:a16="http://schemas.microsoft.com/office/drawing/2014/main" xmlns="" id="{2A1AC4B5-EA60-4888-B12B-34E863943D54}"/>
              </a:ext>
            </a:extLst>
          </p:cNvPr>
          <p:cNvSpPr>
            <a:spLocks noGrp="1"/>
          </p:cNvSpPr>
          <p:nvPr>
            <p:ph type="body" sz="quarter" idx="17"/>
          </p:nvPr>
        </p:nvSpPr>
        <p:spPr>
          <a:xfrm>
            <a:off x="2897587" y="2728424"/>
            <a:ext cx="1628775" cy="900605"/>
          </a:xfrm>
        </p:spPr>
        <p:txBody>
          <a:bodyPr anchor="ctr">
            <a:noAutofit/>
          </a:bodyPr>
          <a:lstStyle>
            <a:lvl1pPr marL="0" indent="0" algn="ctr">
              <a:buNone/>
              <a:defRPr sz="2800" b="1">
                <a:solidFill>
                  <a:schemeClr val="accent2"/>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55" name="Text Placeholder 2">
            <a:extLst>
              <a:ext uri="{FF2B5EF4-FFF2-40B4-BE49-F238E27FC236}">
                <a16:creationId xmlns:a16="http://schemas.microsoft.com/office/drawing/2014/main" xmlns="" id="{F859520D-EAC4-4A05-AB8F-9B59E5A6B932}"/>
              </a:ext>
            </a:extLst>
          </p:cNvPr>
          <p:cNvSpPr>
            <a:spLocks noGrp="1"/>
          </p:cNvSpPr>
          <p:nvPr>
            <p:ph type="body" sz="quarter" idx="18"/>
          </p:nvPr>
        </p:nvSpPr>
        <p:spPr>
          <a:xfrm>
            <a:off x="5161758" y="2728424"/>
            <a:ext cx="1628775" cy="900605"/>
          </a:xfrm>
        </p:spPr>
        <p:txBody>
          <a:bodyPr anchor="ctr">
            <a:noAutofit/>
          </a:bodyPr>
          <a:lstStyle>
            <a:lvl1pPr marL="0" indent="0" algn="ctr">
              <a:buNone/>
              <a:defRPr sz="2800" b="1">
                <a:solidFill>
                  <a:schemeClr val="accent2"/>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58" name="Text Placeholder 2">
            <a:extLst>
              <a:ext uri="{FF2B5EF4-FFF2-40B4-BE49-F238E27FC236}">
                <a16:creationId xmlns:a16="http://schemas.microsoft.com/office/drawing/2014/main" xmlns="" id="{C423D06D-85F7-4DA5-9EB0-ACD94C8B9914}"/>
              </a:ext>
            </a:extLst>
          </p:cNvPr>
          <p:cNvSpPr>
            <a:spLocks noGrp="1"/>
          </p:cNvSpPr>
          <p:nvPr>
            <p:ph type="body" sz="quarter" idx="19"/>
          </p:nvPr>
        </p:nvSpPr>
        <p:spPr>
          <a:xfrm>
            <a:off x="7425931" y="2728424"/>
            <a:ext cx="1628775" cy="900605"/>
          </a:xfrm>
        </p:spPr>
        <p:txBody>
          <a:bodyPr anchor="ctr">
            <a:noAutofit/>
          </a:bodyPr>
          <a:lstStyle>
            <a:lvl1pPr marL="0" indent="0" algn="ctr">
              <a:buNone/>
              <a:defRPr sz="2800" b="1">
                <a:solidFill>
                  <a:schemeClr val="accent2"/>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59" name="Text Placeholder 2">
            <a:extLst>
              <a:ext uri="{FF2B5EF4-FFF2-40B4-BE49-F238E27FC236}">
                <a16:creationId xmlns:a16="http://schemas.microsoft.com/office/drawing/2014/main" xmlns="" id="{B0BA10D8-09A3-40E5-9067-9E2AE1B406CD}"/>
              </a:ext>
            </a:extLst>
          </p:cNvPr>
          <p:cNvSpPr>
            <a:spLocks noGrp="1"/>
          </p:cNvSpPr>
          <p:nvPr>
            <p:ph type="body" sz="quarter" idx="20"/>
          </p:nvPr>
        </p:nvSpPr>
        <p:spPr>
          <a:xfrm>
            <a:off x="9690101" y="2728424"/>
            <a:ext cx="1628775" cy="900605"/>
          </a:xfrm>
        </p:spPr>
        <p:txBody>
          <a:bodyPr anchor="ctr">
            <a:noAutofit/>
          </a:bodyPr>
          <a:lstStyle>
            <a:lvl1pPr marL="0" indent="0" algn="ctr">
              <a:buNone/>
              <a:defRPr sz="2800" b="1">
                <a:solidFill>
                  <a:schemeClr val="accent2"/>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60" name="Text Placeholder 2">
            <a:extLst>
              <a:ext uri="{FF2B5EF4-FFF2-40B4-BE49-F238E27FC236}">
                <a16:creationId xmlns:a16="http://schemas.microsoft.com/office/drawing/2014/main" xmlns="" id="{DD9F7850-CCAC-4F0E-BECD-95A4BBF8BD7F}"/>
              </a:ext>
            </a:extLst>
          </p:cNvPr>
          <p:cNvSpPr>
            <a:spLocks noGrp="1"/>
          </p:cNvSpPr>
          <p:nvPr>
            <p:ph type="body" sz="quarter" idx="21"/>
          </p:nvPr>
        </p:nvSpPr>
        <p:spPr>
          <a:xfrm>
            <a:off x="633415" y="3775073"/>
            <a:ext cx="1628775" cy="900605"/>
          </a:xfrm>
        </p:spPr>
        <p:txBody>
          <a:bodyPr anchor="t">
            <a:noAutofit/>
          </a:bodyPr>
          <a:lstStyle>
            <a:lvl1pPr marL="0" indent="0" algn="ctr">
              <a:buNone/>
              <a:defRPr sz="1400" b="0">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61" name="Text Placeholder 2">
            <a:extLst>
              <a:ext uri="{FF2B5EF4-FFF2-40B4-BE49-F238E27FC236}">
                <a16:creationId xmlns:a16="http://schemas.microsoft.com/office/drawing/2014/main" xmlns="" id="{62538C65-07C8-4071-AB10-C6BBD364718D}"/>
              </a:ext>
            </a:extLst>
          </p:cNvPr>
          <p:cNvSpPr>
            <a:spLocks noGrp="1"/>
          </p:cNvSpPr>
          <p:nvPr>
            <p:ph type="body" sz="quarter" idx="22"/>
          </p:nvPr>
        </p:nvSpPr>
        <p:spPr>
          <a:xfrm>
            <a:off x="2897586" y="3775073"/>
            <a:ext cx="1628775" cy="900605"/>
          </a:xfrm>
        </p:spPr>
        <p:txBody>
          <a:bodyPr anchor="t">
            <a:noAutofit/>
          </a:bodyPr>
          <a:lstStyle>
            <a:lvl1pPr marL="0" indent="0" algn="ctr">
              <a:buNone/>
              <a:defRPr sz="1400" b="0">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62" name="Text Placeholder 2">
            <a:extLst>
              <a:ext uri="{FF2B5EF4-FFF2-40B4-BE49-F238E27FC236}">
                <a16:creationId xmlns:a16="http://schemas.microsoft.com/office/drawing/2014/main" xmlns="" id="{5F019A42-02C8-48FA-A8A5-163591CD6688}"/>
              </a:ext>
            </a:extLst>
          </p:cNvPr>
          <p:cNvSpPr>
            <a:spLocks noGrp="1"/>
          </p:cNvSpPr>
          <p:nvPr>
            <p:ph type="body" sz="quarter" idx="23"/>
          </p:nvPr>
        </p:nvSpPr>
        <p:spPr>
          <a:xfrm>
            <a:off x="5161757" y="3775073"/>
            <a:ext cx="1628775" cy="900605"/>
          </a:xfrm>
        </p:spPr>
        <p:txBody>
          <a:bodyPr anchor="t">
            <a:noAutofit/>
          </a:bodyPr>
          <a:lstStyle>
            <a:lvl1pPr marL="0" indent="0" algn="ctr">
              <a:buNone/>
              <a:defRPr sz="1400" b="0">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63" name="Text Placeholder 2">
            <a:extLst>
              <a:ext uri="{FF2B5EF4-FFF2-40B4-BE49-F238E27FC236}">
                <a16:creationId xmlns:a16="http://schemas.microsoft.com/office/drawing/2014/main" xmlns="" id="{7E61C812-8A13-487B-8CDC-BD4804088A25}"/>
              </a:ext>
            </a:extLst>
          </p:cNvPr>
          <p:cNvSpPr>
            <a:spLocks noGrp="1"/>
          </p:cNvSpPr>
          <p:nvPr>
            <p:ph type="body" sz="quarter" idx="24"/>
          </p:nvPr>
        </p:nvSpPr>
        <p:spPr>
          <a:xfrm>
            <a:off x="7425931" y="3775073"/>
            <a:ext cx="1628775" cy="900605"/>
          </a:xfrm>
        </p:spPr>
        <p:txBody>
          <a:bodyPr anchor="t">
            <a:noAutofit/>
          </a:bodyPr>
          <a:lstStyle>
            <a:lvl1pPr marL="0" indent="0" algn="ctr">
              <a:buNone/>
              <a:defRPr sz="1400" b="0">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
        <p:nvSpPr>
          <p:cNvPr id="64" name="Text Placeholder 2">
            <a:extLst>
              <a:ext uri="{FF2B5EF4-FFF2-40B4-BE49-F238E27FC236}">
                <a16:creationId xmlns:a16="http://schemas.microsoft.com/office/drawing/2014/main" xmlns="" id="{4A9EFE13-9362-49EE-80D4-0155E4523E4C}"/>
              </a:ext>
            </a:extLst>
          </p:cNvPr>
          <p:cNvSpPr>
            <a:spLocks noGrp="1"/>
          </p:cNvSpPr>
          <p:nvPr>
            <p:ph type="body" sz="quarter" idx="25"/>
          </p:nvPr>
        </p:nvSpPr>
        <p:spPr>
          <a:xfrm>
            <a:off x="9690101" y="3775073"/>
            <a:ext cx="1628775" cy="900605"/>
          </a:xfrm>
        </p:spPr>
        <p:txBody>
          <a:bodyPr anchor="t">
            <a:noAutofit/>
          </a:bodyPr>
          <a:lstStyle>
            <a:lvl1pPr marL="0" indent="0" algn="ctr">
              <a:buNone/>
              <a:defRPr sz="1400" b="0">
                <a:solidFill>
                  <a:srgbClr val="000000"/>
                </a:solidFill>
              </a:defRPr>
            </a:lvl1pPr>
            <a:lvl2pPr>
              <a:defRPr sz="1400">
                <a:solidFill>
                  <a:srgbClr val="000000"/>
                </a:solidFill>
              </a:defRPr>
            </a:lvl2pPr>
            <a:lvl3pPr>
              <a:defRPr sz="1200">
                <a:solidFill>
                  <a:srgbClr val="000000"/>
                </a:solidFill>
              </a:defRPr>
            </a:lvl3pPr>
            <a:lvl4pPr>
              <a:defRPr sz="1100">
                <a:solidFill>
                  <a:srgbClr val="000000"/>
                </a:solidFill>
              </a:defRPr>
            </a:lvl4pPr>
            <a:lvl5pPr>
              <a:defRPr sz="1100">
                <a:solidFill>
                  <a:srgbClr val="000000"/>
                </a:solidFill>
              </a:defRPr>
            </a:lvl5pPr>
          </a:lstStyle>
          <a:p>
            <a:pPr lvl="0"/>
            <a:endParaRPr lang="ru-RU" dirty="0"/>
          </a:p>
        </p:txBody>
      </p:sp>
    </p:spTree>
    <p:extLst>
      <p:ext uri="{BB962C8B-B14F-4D97-AF65-F5344CB8AC3E}">
        <p14:creationId xmlns:p14="http://schemas.microsoft.com/office/powerpoint/2010/main" val="1315791744"/>
      </p:ext>
    </p:extLst>
  </p:cSld>
  <p:clrMapOvr>
    <a:masterClrMapping/>
  </p:clrMapOvr>
  <p:extLst>
    <p:ext uri="{DCECCB84-F9BA-43D5-87BE-67443E8EF086}">
      <p15:sldGuideLst xmlns:p15="http://schemas.microsoft.com/office/powerpoint/2012/main">
        <p15:guide id="1" pos="7243">
          <p15:clr>
            <a:srgbClr val="FBAE40"/>
          </p15:clr>
        </p15:guide>
        <p15:guide id="2" pos="597">
          <p15:clr>
            <a:srgbClr val="FBAE40"/>
          </p15:clr>
        </p15:guide>
        <p15:guide id="3" pos="27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Текст">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FFDF5ABC-2F51-4348-936E-5C87AD6348D0}"/>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3000" contrast="18000"/>
                    </a14:imgEffect>
                  </a14:imgLayer>
                </a14:imgProps>
              </a:ext>
            </a:extLst>
          </a:blip>
          <a:srcRect l="32442"/>
          <a:stretch/>
        </p:blipFill>
        <p:spPr>
          <a:xfrm>
            <a:off x="0" y="731840"/>
            <a:ext cx="12192000" cy="6126163"/>
          </a:xfrm>
          <a:prstGeom prst="rect">
            <a:avLst/>
          </a:prstGeom>
        </p:spPr>
      </p:pic>
      <p:sp>
        <p:nvSpPr>
          <p:cNvPr id="13" name="Slide Number Placeholder 6">
            <a:extLst>
              <a:ext uri="{FF2B5EF4-FFF2-40B4-BE49-F238E27FC236}">
                <a16:creationId xmlns:a16="http://schemas.microsoft.com/office/drawing/2014/main" xmlns="" id="{C1BAB3E4-8CDB-4F6A-B3E4-6E0AAEA08B5E}"/>
              </a:ext>
            </a:extLst>
          </p:cNvPr>
          <p:cNvSpPr>
            <a:spLocks noGrp="1"/>
          </p:cNvSpPr>
          <p:nvPr>
            <p:ph type="sldNum" sz="quarter" idx="10"/>
          </p:nvPr>
        </p:nvSpPr>
        <p:spPr>
          <a:xfrm>
            <a:off x="8743949" y="6334130"/>
            <a:ext cx="2743200" cy="365125"/>
          </a:xfrm>
        </p:spPr>
        <p:txBody>
          <a:bodyPr/>
          <a:lstStyle>
            <a:lvl1pPr>
              <a:defRPr sz="1400"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a16="http://schemas.microsoft.com/office/drawing/2014/main" xmlns="" id="{0E651BF2-C6BE-42E0-B646-8F3DC2D7D273}"/>
              </a:ext>
            </a:extLst>
          </p:cNvPr>
          <p:cNvSpPr/>
          <p:nvPr userDrawn="1"/>
        </p:nvSpPr>
        <p:spPr>
          <a:xfrm>
            <a:off x="0" y="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16" name="Title 2">
            <a:extLst>
              <a:ext uri="{FF2B5EF4-FFF2-40B4-BE49-F238E27FC236}">
                <a16:creationId xmlns:a16="http://schemas.microsoft.com/office/drawing/2014/main" xmlns="" id="{74242212-74B6-428E-A4FD-D6259025E325}"/>
              </a:ext>
            </a:extLst>
          </p:cNvPr>
          <p:cNvSpPr>
            <a:spLocks noGrp="1"/>
          </p:cNvSpPr>
          <p:nvPr>
            <p:ph type="title"/>
          </p:nvPr>
        </p:nvSpPr>
        <p:spPr>
          <a:xfrm>
            <a:off x="962025" y="4"/>
            <a:ext cx="10534651" cy="838199"/>
          </a:xfrm>
        </p:spPr>
        <p:txBody>
          <a:bodyPr anchor="ctr">
            <a:normAutofit/>
          </a:bodyPr>
          <a:lstStyle>
            <a:lvl1pPr>
              <a:tabLst>
                <a:tab pos="809625" algn="l"/>
              </a:tabLst>
              <a:defRPr sz="2400" b="1">
                <a:solidFill>
                  <a:schemeClr val="tx1"/>
                </a:solidFill>
              </a:defRPr>
            </a:lvl1pPr>
          </a:lstStyle>
          <a:p>
            <a:pPr>
              <a:tabLst>
                <a:tab pos="809625" algn="l"/>
              </a:tabLst>
            </a:pPr>
            <a:endParaRPr lang="ru-RU" dirty="0"/>
          </a:p>
        </p:txBody>
      </p:sp>
      <p:pic>
        <p:nvPicPr>
          <p:cNvPr id="17" name="Рисунок 38">
            <a:extLst>
              <a:ext uri="{FF2B5EF4-FFF2-40B4-BE49-F238E27FC236}">
                <a16:creationId xmlns:a16="http://schemas.microsoft.com/office/drawing/2014/main" xmlns="" id="{EACDABC3-91E6-489E-BD75-AECE9345F67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0865" y="34942"/>
            <a:ext cx="691747" cy="696899"/>
          </a:xfrm>
          <a:prstGeom prst="rect">
            <a:avLst/>
          </a:prstGeom>
        </p:spPr>
      </p:pic>
      <p:sp>
        <p:nvSpPr>
          <p:cNvPr id="6" name="Text Placeholder 5">
            <a:extLst>
              <a:ext uri="{FF2B5EF4-FFF2-40B4-BE49-F238E27FC236}">
                <a16:creationId xmlns:a16="http://schemas.microsoft.com/office/drawing/2014/main" xmlns="" id="{B35309A1-1DFE-4448-9E97-68A9703F8485}"/>
              </a:ext>
            </a:extLst>
          </p:cNvPr>
          <p:cNvSpPr>
            <a:spLocks noGrp="1"/>
          </p:cNvSpPr>
          <p:nvPr>
            <p:ph type="body" sz="quarter" idx="11"/>
          </p:nvPr>
        </p:nvSpPr>
        <p:spPr>
          <a:xfrm>
            <a:off x="587377" y="4114805"/>
            <a:ext cx="10899775" cy="2219325"/>
          </a:xfrm>
        </p:spPr>
        <p:txBody>
          <a:bodyPr/>
          <a:lstStyle>
            <a:lvl1pPr marL="0" indent="0">
              <a:buNone/>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endParaRPr lang="ru-RU" dirty="0"/>
          </a:p>
        </p:txBody>
      </p:sp>
    </p:spTree>
    <p:extLst>
      <p:ext uri="{BB962C8B-B14F-4D97-AF65-F5344CB8AC3E}">
        <p14:creationId xmlns:p14="http://schemas.microsoft.com/office/powerpoint/2010/main" val="3268014529"/>
      </p:ext>
    </p:extLst>
  </p:cSld>
  <p:clrMapOvr>
    <a:masterClrMapping/>
  </p:clrMapOvr>
  <p:extLst>
    <p:ext uri="{DCECCB84-F9BA-43D5-87BE-67443E8EF086}">
      <p15:sldGuideLst xmlns:p15="http://schemas.microsoft.com/office/powerpoint/2012/main">
        <p15:guide id="1" pos="7243">
          <p15:clr>
            <a:srgbClr val="FBAE40"/>
          </p15:clr>
        </p15:guide>
        <p15:guide id="2" pos="597">
          <p15:clr>
            <a:srgbClr val="FBAE40"/>
          </p15:clr>
        </p15:guide>
        <p15:guide id="3" pos="27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Две колонки">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9D56BED0-189E-4943-8DB6-0A9EF11C7273}"/>
              </a:ext>
            </a:extLst>
          </p:cNvPr>
          <p:cNvSpPr>
            <a:spLocks noGrp="1"/>
          </p:cNvSpPr>
          <p:nvPr>
            <p:ph type="body" idx="1"/>
          </p:nvPr>
        </p:nvSpPr>
        <p:spPr>
          <a:xfrm>
            <a:off x="839789" y="1246982"/>
            <a:ext cx="5157787" cy="823912"/>
          </a:xfrm>
        </p:spPr>
        <p:txBody>
          <a:bodyPr anchor="ctr">
            <a:normAutofit/>
          </a:bodyPr>
          <a:lstStyle>
            <a:lvl1pPr marL="0" indent="0" algn="ctr">
              <a:buNone/>
              <a:defRPr sz="20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pic>
        <p:nvPicPr>
          <p:cNvPr id="8" name="Picture 7">
            <a:extLst>
              <a:ext uri="{FF2B5EF4-FFF2-40B4-BE49-F238E27FC236}">
                <a16:creationId xmlns:a16="http://schemas.microsoft.com/office/drawing/2014/main" xmlns="" id="{9E46D484-19A6-4B6B-BDF5-A6692731BBCC}"/>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3000" contrast="18000"/>
                    </a14:imgEffect>
                  </a14:imgLayer>
                </a14:imgProps>
              </a:ext>
            </a:extLst>
          </a:blip>
          <a:srcRect l="32442"/>
          <a:stretch/>
        </p:blipFill>
        <p:spPr>
          <a:xfrm>
            <a:off x="0" y="5776246"/>
            <a:ext cx="12192000" cy="1081754"/>
          </a:xfrm>
          <a:prstGeom prst="rect">
            <a:avLst/>
          </a:prstGeom>
        </p:spPr>
      </p:pic>
      <p:sp>
        <p:nvSpPr>
          <p:cNvPr id="4" name="Content Placeholder 3">
            <a:extLst>
              <a:ext uri="{FF2B5EF4-FFF2-40B4-BE49-F238E27FC236}">
                <a16:creationId xmlns:a16="http://schemas.microsoft.com/office/drawing/2014/main" xmlns="" id="{97B947A0-6C39-4DAC-9F4E-F570EAD45F02}"/>
              </a:ext>
            </a:extLst>
          </p:cNvPr>
          <p:cNvSpPr>
            <a:spLocks noGrp="1"/>
          </p:cNvSpPr>
          <p:nvPr>
            <p:ph sz="half" idx="2"/>
          </p:nvPr>
        </p:nvSpPr>
        <p:spPr>
          <a:xfrm>
            <a:off x="839789" y="2305054"/>
            <a:ext cx="5157787" cy="3884613"/>
          </a:xfrm>
        </p:spPr>
        <p:txBody>
          <a:bodyPr>
            <a:normAutofit/>
          </a:bodyPr>
          <a:lstStyle>
            <a:lvl1pPr marL="228594" indent="-228594">
              <a:buClr>
                <a:schemeClr val="tx2"/>
              </a:buClr>
              <a:buFont typeface="Wingdings" panose="05000000000000000000" pitchFamily="2" charset="2"/>
              <a:buChar char="§"/>
              <a:defRPr sz="1400">
                <a:solidFill>
                  <a:srgbClr val="000000"/>
                </a:solidFill>
              </a:defRPr>
            </a:lvl1pPr>
            <a:lvl2pPr marL="685783" indent="-228594">
              <a:buClr>
                <a:schemeClr val="tx2"/>
              </a:buClr>
              <a:buFont typeface="Wingdings" panose="05000000000000000000" pitchFamily="2" charset="2"/>
              <a:buChar char="§"/>
              <a:defRPr sz="1400">
                <a:solidFill>
                  <a:srgbClr val="000000"/>
                </a:solidFill>
              </a:defRPr>
            </a:lvl2pPr>
            <a:lvl3pPr marL="1142971" indent="-228594">
              <a:buClr>
                <a:schemeClr val="tx2"/>
              </a:buClr>
              <a:buFont typeface="Wingdings" panose="05000000000000000000" pitchFamily="2" charset="2"/>
              <a:buChar char="§"/>
              <a:defRPr sz="1400">
                <a:solidFill>
                  <a:srgbClr val="000000"/>
                </a:solidFill>
              </a:defRPr>
            </a:lvl3pPr>
            <a:lvl4pPr marL="1600160" indent="-228594">
              <a:buClr>
                <a:schemeClr val="tx2"/>
              </a:buClr>
              <a:buFont typeface="Wingdings" panose="05000000000000000000" pitchFamily="2" charset="2"/>
              <a:buChar char="§"/>
              <a:defRPr sz="1400">
                <a:solidFill>
                  <a:srgbClr val="000000"/>
                </a:solidFill>
              </a:defRPr>
            </a:lvl4pPr>
            <a:lvl5pPr marL="2057349" indent="-228594">
              <a:buClr>
                <a:schemeClr val="tx2"/>
              </a:buClr>
              <a:buFont typeface="Wingdings" panose="05000000000000000000" pitchFamily="2" charset="2"/>
              <a:buChar char="§"/>
              <a:defRPr sz="14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5" name="Text Placeholder 4">
            <a:extLst>
              <a:ext uri="{FF2B5EF4-FFF2-40B4-BE49-F238E27FC236}">
                <a16:creationId xmlns:a16="http://schemas.microsoft.com/office/drawing/2014/main" xmlns="" id="{071E98F0-0A34-49DA-A1B6-8099465AB7E1}"/>
              </a:ext>
            </a:extLst>
          </p:cNvPr>
          <p:cNvSpPr>
            <a:spLocks noGrp="1"/>
          </p:cNvSpPr>
          <p:nvPr>
            <p:ph type="body" sz="quarter" idx="3"/>
          </p:nvPr>
        </p:nvSpPr>
        <p:spPr>
          <a:xfrm>
            <a:off x="6169026" y="1246982"/>
            <a:ext cx="5183188" cy="823912"/>
          </a:xfrm>
        </p:spPr>
        <p:txBody>
          <a:bodyPr anchor="ctr">
            <a:noAutofit/>
          </a:bodyPr>
          <a:lstStyle>
            <a:lvl1pPr marL="0" indent="0" algn="ctr">
              <a:buNone/>
              <a:defRPr sz="2000" b="1">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xmlns="" id="{928B27D2-411C-4250-86F9-248A70DD2C2E}"/>
              </a:ext>
            </a:extLst>
          </p:cNvPr>
          <p:cNvSpPr>
            <a:spLocks noGrp="1"/>
          </p:cNvSpPr>
          <p:nvPr>
            <p:ph sz="quarter" idx="4"/>
          </p:nvPr>
        </p:nvSpPr>
        <p:spPr>
          <a:xfrm>
            <a:off x="6172202" y="2305054"/>
            <a:ext cx="5183188" cy="3884613"/>
          </a:xfrm>
        </p:spPr>
        <p:txBody>
          <a:bodyPr>
            <a:normAutofit/>
          </a:bodyPr>
          <a:lstStyle>
            <a:lvl1pPr marL="228594" indent="-228594">
              <a:buClr>
                <a:schemeClr val="tx1"/>
              </a:buClr>
              <a:buFont typeface="Wingdings" panose="05000000000000000000" pitchFamily="2" charset="2"/>
              <a:buChar char="§"/>
              <a:defRPr sz="1400">
                <a:solidFill>
                  <a:srgbClr val="000000"/>
                </a:solidFill>
              </a:defRPr>
            </a:lvl1pPr>
            <a:lvl2pPr marL="685783" indent="-228594">
              <a:buClr>
                <a:schemeClr val="tx1"/>
              </a:buClr>
              <a:buFont typeface="Wingdings" panose="05000000000000000000" pitchFamily="2" charset="2"/>
              <a:buChar char="§"/>
              <a:defRPr sz="1400">
                <a:solidFill>
                  <a:srgbClr val="000000"/>
                </a:solidFill>
              </a:defRPr>
            </a:lvl2pPr>
            <a:lvl3pPr marL="1142971" indent="-228594">
              <a:buClr>
                <a:schemeClr val="tx1"/>
              </a:buClr>
              <a:buFont typeface="Wingdings" panose="05000000000000000000" pitchFamily="2" charset="2"/>
              <a:buChar char="§"/>
              <a:defRPr sz="1400">
                <a:solidFill>
                  <a:srgbClr val="000000"/>
                </a:solidFill>
              </a:defRPr>
            </a:lvl3pPr>
            <a:lvl4pPr marL="1600160" indent="-228594">
              <a:buClr>
                <a:schemeClr val="tx1"/>
              </a:buClr>
              <a:buFont typeface="Wingdings" panose="05000000000000000000" pitchFamily="2" charset="2"/>
              <a:buChar char="§"/>
              <a:defRPr sz="1400">
                <a:solidFill>
                  <a:srgbClr val="000000"/>
                </a:solidFill>
              </a:defRPr>
            </a:lvl4pPr>
            <a:lvl5pPr marL="2057349" indent="-228594">
              <a:buClr>
                <a:schemeClr val="tx1"/>
              </a:buClr>
              <a:buFont typeface="Wingdings" panose="05000000000000000000" pitchFamily="2" charset="2"/>
              <a:buChar char="§"/>
              <a:defRPr sz="14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9" name="Slide Number Placeholder 6">
            <a:extLst>
              <a:ext uri="{FF2B5EF4-FFF2-40B4-BE49-F238E27FC236}">
                <a16:creationId xmlns:a16="http://schemas.microsoft.com/office/drawing/2014/main" xmlns="" id="{9C537432-E2EF-4BF1-90A7-32FD5153EA79}"/>
              </a:ext>
            </a:extLst>
          </p:cNvPr>
          <p:cNvSpPr>
            <a:spLocks noGrp="1"/>
          </p:cNvSpPr>
          <p:nvPr>
            <p:ph type="sldNum" sz="quarter" idx="10"/>
          </p:nvPr>
        </p:nvSpPr>
        <p:spPr>
          <a:xfrm>
            <a:off x="8610600" y="6356354"/>
            <a:ext cx="2743200" cy="365125"/>
          </a:xfrm>
        </p:spPr>
        <p:txBody>
          <a:bodyPr/>
          <a:lstStyle>
            <a:lvl1pPr>
              <a:defRPr sz="1400" b="1">
                <a:solidFill>
                  <a:schemeClr val="bg1"/>
                </a:solidFill>
              </a:defRPr>
            </a:lvl1pPr>
          </a:lstStyle>
          <a:p>
            <a:fld id="{35ACA335-37F7-42C7-872A-92C3D7072F89}" type="slidenum">
              <a:rPr lang="ru-RU" smtClean="0"/>
              <a:pPr/>
              <a:t>‹#›</a:t>
            </a:fld>
            <a:endParaRPr lang="ru-RU" dirty="0"/>
          </a:p>
        </p:txBody>
      </p:sp>
      <p:sp>
        <p:nvSpPr>
          <p:cNvPr id="12" name="Rectangle 11">
            <a:extLst>
              <a:ext uri="{FF2B5EF4-FFF2-40B4-BE49-F238E27FC236}">
                <a16:creationId xmlns:a16="http://schemas.microsoft.com/office/drawing/2014/main" xmlns="" id="{DCDC7F13-FC8B-4B9A-A91F-FCEC132DED60}"/>
              </a:ext>
            </a:extLst>
          </p:cNvPr>
          <p:cNvSpPr/>
          <p:nvPr userDrawn="1"/>
        </p:nvSpPr>
        <p:spPr>
          <a:xfrm>
            <a:off x="0" y="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13" name="Title 2">
            <a:extLst>
              <a:ext uri="{FF2B5EF4-FFF2-40B4-BE49-F238E27FC236}">
                <a16:creationId xmlns:a16="http://schemas.microsoft.com/office/drawing/2014/main" xmlns="" id="{F96892C9-3AB1-475D-812F-6012186E24A4}"/>
              </a:ext>
            </a:extLst>
          </p:cNvPr>
          <p:cNvSpPr>
            <a:spLocks noGrp="1"/>
          </p:cNvSpPr>
          <p:nvPr>
            <p:ph type="title" hasCustomPrompt="1"/>
          </p:nvPr>
        </p:nvSpPr>
        <p:spPr>
          <a:xfrm>
            <a:off x="962025" y="4"/>
            <a:ext cx="10534651" cy="838199"/>
          </a:xfrm>
        </p:spPr>
        <p:txBody>
          <a:bodyPr anchor="ctr">
            <a:normAutofit/>
          </a:bodyPr>
          <a:lstStyle>
            <a:lvl1pPr>
              <a:tabLst>
                <a:tab pos="809625" algn="l"/>
              </a:tabLst>
              <a:defRPr sz="2400" b="1">
                <a:solidFill>
                  <a:schemeClr val="tx1"/>
                </a:solidFill>
              </a:defRPr>
            </a:lvl1pPr>
          </a:lstStyle>
          <a:p>
            <a:pPr>
              <a:tabLst>
                <a:tab pos="809625" algn="l"/>
              </a:tabLst>
            </a:pPr>
            <a:r>
              <a:rPr lang="en-US" dirty="0"/>
              <a:t> </a:t>
            </a:r>
            <a:endParaRPr lang="ru-RU" dirty="0"/>
          </a:p>
        </p:txBody>
      </p:sp>
      <p:pic>
        <p:nvPicPr>
          <p:cNvPr id="14" name="Рисунок 38">
            <a:extLst>
              <a:ext uri="{FF2B5EF4-FFF2-40B4-BE49-F238E27FC236}">
                <a16:creationId xmlns:a16="http://schemas.microsoft.com/office/drawing/2014/main" xmlns="" id="{A82F49A4-D73E-4A58-8DDB-45D4206B950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0865" y="34942"/>
            <a:ext cx="691747" cy="696899"/>
          </a:xfrm>
          <a:prstGeom prst="rect">
            <a:avLst/>
          </a:prstGeom>
        </p:spPr>
      </p:pic>
    </p:spTree>
    <p:extLst>
      <p:ext uri="{BB962C8B-B14F-4D97-AF65-F5344CB8AC3E}">
        <p14:creationId xmlns:p14="http://schemas.microsoft.com/office/powerpoint/2010/main" val="7818266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xmlns="" id="{DB521EB3-2623-4D19-8CFB-BC2369EED612}"/>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3000" contrast="18000"/>
                    </a14:imgEffect>
                  </a14:imgLayer>
                </a14:imgProps>
              </a:ext>
            </a:extLst>
          </a:blip>
          <a:srcRect l="32442"/>
          <a:stretch/>
        </p:blipFill>
        <p:spPr>
          <a:xfrm>
            <a:off x="0" y="5776246"/>
            <a:ext cx="12192000" cy="1081754"/>
          </a:xfrm>
          <a:prstGeom prst="rect">
            <a:avLst/>
          </a:prstGeom>
        </p:spPr>
      </p:pic>
      <p:sp>
        <p:nvSpPr>
          <p:cNvPr id="12" name="Скругленный прямоугольник 33">
            <a:extLst>
              <a:ext uri="{FF2B5EF4-FFF2-40B4-BE49-F238E27FC236}">
                <a16:creationId xmlns:a16="http://schemas.microsoft.com/office/drawing/2014/main" xmlns="" id="{9A409869-6018-47A6-B49B-23C2F6540AAB}"/>
              </a:ext>
            </a:extLst>
          </p:cNvPr>
          <p:cNvSpPr/>
          <p:nvPr userDrawn="1"/>
        </p:nvSpPr>
        <p:spPr>
          <a:xfrm>
            <a:off x="7866066" y="1098101"/>
            <a:ext cx="5117407" cy="4865007"/>
          </a:xfrm>
          <a:prstGeom prst="roundRect">
            <a:avLst/>
          </a:prstGeom>
          <a:solidFill>
            <a:srgbClr val="ECF3FA"/>
          </a:solidFill>
          <a:ln>
            <a:noFill/>
          </a:ln>
        </p:spPr>
        <p:style>
          <a:lnRef idx="2">
            <a:schemeClr val="accent1">
              <a:shade val="50000"/>
            </a:schemeClr>
          </a:lnRef>
          <a:fillRef idx="1">
            <a:schemeClr val="accent1"/>
          </a:fillRef>
          <a:effectRef idx="0">
            <a:schemeClr val="accent1"/>
          </a:effectRef>
          <a:fontRef idx="minor">
            <a:schemeClr val="lt1"/>
          </a:fontRef>
        </p:style>
        <p:txBody>
          <a:bodyPr lIns="68575" tIns="34287" rIns="68575" bIns="34287" rtlCol="0" anchor="ctr"/>
          <a:lstStyle/>
          <a:p>
            <a:pPr algn="ctr" defTabSz="685734">
              <a:defRPr/>
            </a:pPr>
            <a:endParaRPr lang="ru-RU" sz="1400">
              <a:solidFill>
                <a:prstClr val="white"/>
              </a:solidFill>
              <a:latin typeface="Calibri" panose="020F0502020204030204"/>
            </a:endParaRPr>
          </a:p>
        </p:txBody>
      </p:sp>
      <p:sp>
        <p:nvSpPr>
          <p:cNvPr id="7" name="Slide Number Placeholder 6">
            <a:extLst>
              <a:ext uri="{FF2B5EF4-FFF2-40B4-BE49-F238E27FC236}">
                <a16:creationId xmlns:a16="http://schemas.microsoft.com/office/drawing/2014/main" xmlns="" id="{696F51D3-1D48-4B4F-831E-26FFA425D447}"/>
              </a:ext>
            </a:extLst>
          </p:cNvPr>
          <p:cNvSpPr>
            <a:spLocks noGrp="1"/>
          </p:cNvSpPr>
          <p:nvPr>
            <p:ph type="sldNum" sz="quarter" idx="10"/>
          </p:nvPr>
        </p:nvSpPr>
        <p:spPr>
          <a:xfrm>
            <a:off x="8610600" y="6356354"/>
            <a:ext cx="2743200" cy="365125"/>
          </a:xfrm>
        </p:spPr>
        <p:txBody>
          <a:bodyPr/>
          <a:lstStyle>
            <a:lvl1pPr>
              <a:defRPr sz="1400" b="1">
                <a:solidFill>
                  <a:schemeClr val="bg1"/>
                </a:solidFill>
              </a:defRPr>
            </a:lvl1pPr>
          </a:lstStyle>
          <a:p>
            <a:fld id="{35ACA335-37F7-42C7-872A-92C3D7072F89}" type="slidenum">
              <a:rPr lang="ru-RU" smtClean="0"/>
              <a:pPr/>
              <a:t>‹#›</a:t>
            </a:fld>
            <a:endParaRPr lang="ru-RU" dirty="0"/>
          </a:p>
        </p:txBody>
      </p:sp>
      <p:sp>
        <p:nvSpPr>
          <p:cNvPr id="9" name="Rectangle 8">
            <a:extLst>
              <a:ext uri="{FF2B5EF4-FFF2-40B4-BE49-F238E27FC236}">
                <a16:creationId xmlns:a16="http://schemas.microsoft.com/office/drawing/2014/main" xmlns="" id="{F974BFB6-1DD5-4B25-927C-CD7D7A1E7EF8}"/>
              </a:ext>
            </a:extLst>
          </p:cNvPr>
          <p:cNvSpPr/>
          <p:nvPr userDrawn="1"/>
        </p:nvSpPr>
        <p:spPr>
          <a:xfrm>
            <a:off x="0" y="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sp>
        <p:nvSpPr>
          <p:cNvPr id="10" name="Title 2">
            <a:extLst>
              <a:ext uri="{FF2B5EF4-FFF2-40B4-BE49-F238E27FC236}">
                <a16:creationId xmlns:a16="http://schemas.microsoft.com/office/drawing/2014/main" xmlns="" id="{DD9EF67E-4F30-4336-935D-9CEC43D400DC}"/>
              </a:ext>
            </a:extLst>
          </p:cNvPr>
          <p:cNvSpPr>
            <a:spLocks noGrp="1"/>
          </p:cNvSpPr>
          <p:nvPr>
            <p:ph type="title"/>
          </p:nvPr>
        </p:nvSpPr>
        <p:spPr>
          <a:xfrm>
            <a:off x="962025" y="4"/>
            <a:ext cx="10534651" cy="838199"/>
          </a:xfrm>
        </p:spPr>
        <p:txBody>
          <a:bodyPr anchor="ctr">
            <a:normAutofit/>
          </a:bodyPr>
          <a:lstStyle>
            <a:lvl1pPr>
              <a:tabLst>
                <a:tab pos="809625" algn="l"/>
              </a:tabLst>
              <a:defRPr sz="2400" b="1">
                <a:solidFill>
                  <a:schemeClr val="tx1"/>
                </a:solidFill>
              </a:defRPr>
            </a:lvl1pPr>
          </a:lstStyle>
          <a:p>
            <a:pPr>
              <a:tabLst>
                <a:tab pos="809625" algn="l"/>
              </a:tabLst>
            </a:pPr>
            <a:endParaRPr lang="ru-RU" dirty="0"/>
          </a:p>
        </p:txBody>
      </p:sp>
      <p:pic>
        <p:nvPicPr>
          <p:cNvPr id="11" name="Рисунок 38">
            <a:extLst>
              <a:ext uri="{FF2B5EF4-FFF2-40B4-BE49-F238E27FC236}">
                <a16:creationId xmlns:a16="http://schemas.microsoft.com/office/drawing/2014/main" xmlns="" id="{4006D152-96E5-43A8-8268-713F1C07117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0865" y="34942"/>
            <a:ext cx="691747" cy="696899"/>
          </a:xfrm>
          <a:prstGeom prst="rect">
            <a:avLst/>
          </a:prstGeom>
        </p:spPr>
      </p:pic>
      <p:sp>
        <p:nvSpPr>
          <p:cNvPr id="18" name="Text Placeholder 18">
            <a:extLst>
              <a:ext uri="{FF2B5EF4-FFF2-40B4-BE49-F238E27FC236}">
                <a16:creationId xmlns:a16="http://schemas.microsoft.com/office/drawing/2014/main" xmlns="" id="{A21A71B5-7B65-4C24-9580-57E6AA1488F1}"/>
              </a:ext>
            </a:extLst>
          </p:cNvPr>
          <p:cNvSpPr>
            <a:spLocks noGrp="1"/>
          </p:cNvSpPr>
          <p:nvPr>
            <p:ph type="body" sz="quarter" idx="13"/>
          </p:nvPr>
        </p:nvSpPr>
        <p:spPr>
          <a:xfrm>
            <a:off x="971552" y="1323979"/>
            <a:ext cx="6300107" cy="4524829"/>
          </a:xfrm>
        </p:spPr>
        <p:txBody>
          <a:bodyPr>
            <a:normAutofit/>
          </a:bodyPr>
          <a:lstStyle>
            <a:lvl1pPr marL="228594" indent="-228594">
              <a:buClr>
                <a:schemeClr val="tx2"/>
              </a:buClr>
              <a:buFont typeface="Wingdings" panose="05000000000000000000" pitchFamily="2" charset="2"/>
              <a:buChar char="§"/>
              <a:defRPr sz="1800">
                <a:solidFill>
                  <a:srgbClr val="000000"/>
                </a:solidFill>
              </a:defRPr>
            </a:lvl1pPr>
            <a:lvl2pPr marL="685783" indent="-228594">
              <a:buClr>
                <a:schemeClr val="tx2"/>
              </a:buClr>
              <a:buFont typeface="Wingdings" panose="05000000000000000000" pitchFamily="2" charset="2"/>
              <a:buChar char="§"/>
              <a:defRPr sz="1800">
                <a:solidFill>
                  <a:srgbClr val="000000"/>
                </a:solidFill>
              </a:defRPr>
            </a:lvl2pPr>
            <a:lvl3pPr marL="1142971" indent="-228594">
              <a:buClr>
                <a:schemeClr val="tx2"/>
              </a:buClr>
              <a:buFont typeface="Wingdings" panose="05000000000000000000" pitchFamily="2" charset="2"/>
              <a:buChar char="§"/>
              <a:defRPr sz="1800">
                <a:solidFill>
                  <a:srgbClr val="000000"/>
                </a:solidFill>
              </a:defRPr>
            </a:lvl3pPr>
            <a:lvl4pPr marL="1600160" indent="-228594">
              <a:buClr>
                <a:schemeClr val="tx2"/>
              </a:buClr>
              <a:buFont typeface="Wingdings" panose="05000000000000000000" pitchFamily="2" charset="2"/>
              <a:buChar char="§"/>
              <a:defRPr sz="1800">
                <a:solidFill>
                  <a:srgbClr val="000000"/>
                </a:solidFill>
              </a:defRPr>
            </a:lvl4pPr>
            <a:lvl5pPr marL="2057349" indent="-228594">
              <a:buClr>
                <a:schemeClr val="tx2"/>
              </a:buClr>
              <a:buFont typeface="Wingdings" panose="05000000000000000000" pitchFamily="2" charset="2"/>
              <a:buChar char="§"/>
              <a:defRPr sz="1800">
                <a:solidFill>
                  <a:srgbClr val="000000"/>
                </a:solidFill>
              </a:defRPr>
            </a:lvl5pPr>
          </a:lstStyle>
          <a:p>
            <a:pPr lvl="0"/>
            <a:endParaRPr lang="ru-RU" dirty="0"/>
          </a:p>
        </p:txBody>
      </p:sp>
      <p:sp>
        <p:nvSpPr>
          <p:cNvPr id="21" name="Text Placeholder 18">
            <a:extLst>
              <a:ext uri="{FF2B5EF4-FFF2-40B4-BE49-F238E27FC236}">
                <a16:creationId xmlns:a16="http://schemas.microsoft.com/office/drawing/2014/main" xmlns="" id="{9B48F3C9-23C7-41D2-9897-A3F464FE3448}"/>
              </a:ext>
            </a:extLst>
          </p:cNvPr>
          <p:cNvSpPr>
            <a:spLocks noGrp="1"/>
          </p:cNvSpPr>
          <p:nvPr>
            <p:ph type="body" sz="quarter" idx="14"/>
          </p:nvPr>
        </p:nvSpPr>
        <p:spPr>
          <a:xfrm>
            <a:off x="8323813" y="2134067"/>
            <a:ext cx="3441699" cy="3369582"/>
          </a:xfrm>
        </p:spPr>
        <p:txBody>
          <a:bodyPr>
            <a:normAutofit/>
          </a:bodyPr>
          <a:lstStyle>
            <a:lvl1pPr marL="228594" indent="-228594">
              <a:spcBef>
                <a:spcPts val="0"/>
              </a:spcBef>
              <a:spcAft>
                <a:spcPts val="800"/>
              </a:spcAft>
              <a:buClr>
                <a:schemeClr val="tx2"/>
              </a:buClr>
              <a:buFont typeface="Wingdings" panose="05000000000000000000" pitchFamily="2" charset="2"/>
              <a:buChar char="§"/>
              <a:defRPr sz="1800">
                <a:solidFill>
                  <a:srgbClr val="000000"/>
                </a:solidFill>
              </a:defRPr>
            </a:lvl1pPr>
            <a:lvl2pPr marL="685783" indent="-228594">
              <a:buClr>
                <a:schemeClr val="tx2"/>
              </a:buClr>
              <a:buFont typeface="Wingdings" panose="05000000000000000000" pitchFamily="2" charset="2"/>
              <a:buChar char="§"/>
              <a:defRPr sz="1800">
                <a:solidFill>
                  <a:srgbClr val="000000"/>
                </a:solidFill>
              </a:defRPr>
            </a:lvl2pPr>
            <a:lvl3pPr marL="1142971" indent="-228594">
              <a:buClr>
                <a:schemeClr val="tx2"/>
              </a:buClr>
              <a:buFont typeface="Wingdings" panose="05000000000000000000" pitchFamily="2" charset="2"/>
              <a:buChar char="§"/>
              <a:defRPr sz="1800">
                <a:solidFill>
                  <a:srgbClr val="000000"/>
                </a:solidFill>
              </a:defRPr>
            </a:lvl3pPr>
            <a:lvl4pPr marL="1600160" indent="-228594">
              <a:buClr>
                <a:schemeClr val="tx2"/>
              </a:buClr>
              <a:buFont typeface="Wingdings" panose="05000000000000000000" pitchFamily="2" charset="2"/>
              <a:buChar char="§"/>
              <a:defRPr sz="1800">
                <a:solidFill>
                  <a:srgbClr val="000000"/>
                </a:solidFill>
              </a:defRPr>
            </a:lvl4pPr>
            <a:lvl5pPr marL="2057349" indent="-228594">
              <a:buClr>
                <a:schemeClr val="tx2"/>
              </a:buClr>
              <a:buFont typeface="Wingdings" panose="05000000000000000000" pitchFamily="2" charset="2"/>
              <a:buChar char="§"/>
              <a:defRPr sz="1800">
                <a:solidFill>
                  <a:srgbClr val="000000"/>
                </a:solidFill>
              </a:defRPr>
            </a:lvl5pPr>
          </a:lstStyle>
          <a:p>
            <a:pPr lvl="0"/>
            <a:endParaRPr lang="ru-RU" dirty="0"/>
          </a:p>
        </p:txBody>
      </p:sp>
      <p:sp>
        <p:nvSpPr>
          <p:cNvPr id="5" name="Text Placeholder 4">
            <a:extLst>
              <a:ext uri="{FF2B5EF4-FFF2-40B4-BE49-F238E27FC236}">
                <a16:creationId xmlns:a16="http://schemas.microsoft.com/office/drawing/2014/main" xmlns="" id="{215A7B60-5AB2-4827-A7D4-D25E15A6A827}"/>
              </a:ext>
            </a:extLst>
          </p:cNvPr>
          <p:cNvSpPr>
            <a:spLocks noGrp="1"/>
          </p:cNvSpPr>
          <p:nvPr>
            <p:ph type="body" sz="quarter" idx="15"/>
          </p:nvPr>
        </p:nvSpPr>
        <p:spPr>
          <a:xfrm>
            <a:off x="8323811" y="1302669"/>
            <a:ext cx="3441700" cy="571500"/>
          </a:xfrm>
        </p:spPr>
        <p:txBody>
          <a:bodyPr anchor="ctr">
            <a:noAutofit/>
          </a:bodyPr>
          <a:lstStyle>
            <a:lvl1pPr marL="0" indent="0">
              <a:buNone/>
              <a:defRPr sz="2400" b="1">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endParaRPr lang="ru-RU" dirty="0"/>
          </a:p>
        </p:txBody>
      </p:sp>
    </p:spTree>
    <p:extLst>
      <p:ext uri="{BB962C8B-B14F-4D97-AF65-F5344CB8AC3E}">
        <p14:creationId xmlns:p14="http://schemas.microsoft.com/office/powerpoint/2010/main" val="3003883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2CDF2037-6562-4039-80B1-04012E84ED84}"/>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3000" contrast="18000"/>
                    </a14:imgEffect>
                  </a14:imgLayer>
                </a14:imgProps>
              </a:ext>
            </a:extLst>
          </a:blip>
          <a:srcRect l="32442"/>
          <a:stretch/>
        </p:blipFill>
        <p:spPr>
          <a:xfrm>
            <a:off x="0" y="5776246"/>
            <a:ext cx="12192000" cy="1081754"/>
          </a:xfrm>
          <a:prstGeom prst="rect">
            <a:avLst/>
          </a:prstGeom>
        </p:spPr>
      </p:pic>
      <p:sp>
        <p:nvSpPr>
          <p:cNvPr id="2" name="Title 1">
            <a:extLst>
              <a:ext uri="{FF2B5EF4-FFF2-40B4-BE49-F238E27FC236}">
                <a16:creationId xmlns:a16="http://schemas.microsoft.com/office/drawing/2014/main" xmlns="" id="{1ECC1A73-63C3-4376-B0A7-A4532D7510AD}"/>
              </a:ext>
            </a:extLst>
          </p:cNvPr>
          <p:cNvSpPr>
            <a:spLocks noGrp="1"/>
          </p:cNvSpPr>
          <p:nvPr>
            <p:ph type="title"/>
          </p:nvPr>
        </p:nvSpPr>
        <p:spPr/>
        <p:txBody>
          <a:bodyPr/>
          <a:lstStyle/>
          <a:p>
            <a:r>
              <a:rPr lang="en-US"/>
              <a:t>Click to edit Master title style</a:t>
            </a:r>
            <a:endParaRPr lang="ru-RU"/>
          </a:p>
        </p:txBody>
      </p:sp>
      <p:sp>
        <p:nvSpPr>
          <p:cNvPr id="8" name="Slide Number Placeholder 6">
            <a:extLst>
              <a:ext uri="{FF2B5EF4-FFF2-40B4-BE49-F238E27FC236}">
                <a16:creationId xmlns:a16="http://schemas.microsoft.com/office/drawing/2014/main" xmlns="" id="{F89B92AE-557D-452C-87E8-14E80D823F41}"/>
              </a:ext>
            </a:extLst>
          </p:cNvPr>
          <p:cNvSpPr>
            <a:spLocks noGrp="1"/>
          </p:cNvSpPr>
          <p:nvPr>
            <p:ph type="sldNum" sz="quarter" idx="10"/>
          </p:nvPr>
        </p:nvSpPr>
        <p:spPr>
          <a:xfrm>
            <a:off x="8610600" y="6356354"/>
            <a:ext cx="2743200" cy="365125"/>
          </a:xfrm>
        </p:spPr>
        <p:txBody>
          <a:bodyPr/>
          <a:lstStyle>
            <a:lvl1pPr>
              <a:defRPr sz="1400" b="1">
                <a:solidFill>
                  <a:schemeClr val="bg1"/>
                </a:solidFill>
              </a:defRPr>
            </a:lvl1pPr>
          </a:lstStyle>
          <a:p>
            <a:fld id="{35ACA335-37F7-42C7-872A-92C3D7072F89}" type="slidenum">
              <a:rPr lang="ru-RU" smtClean="0"/>
              <a:pPr/>
              <a:t>‹#›</a:t>
            </a:fld>
            <a:endParaRPr lang="ru-RU" dirty="0"/>
          </a:p>
        </p:txBody>
      </p:sp>
    </p:spTree>
    <p:extLst>
      <p:ext uri="{BB962C8B-B14F-4D97-AF65-F5344CB8AC3E}">
        <p14:creationId xmlns:p14="http://schemas.microsoft.com/office/powerpoint/2010/main" val="29262304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40C3A8DB-8D2E-4F36-89EA-DE508D23806D}"/>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endParaRPr lang="ru-RU"/>
          </a:p>
        </p:txBody>
      </p:sp>
      <p:sp>
        <p:nvSpPr>
          <p:cNvPr id="3" name="Text Placeholder 2">
            <a:extLst>
              <a:ext uri="{FF2B5EF4-FFF2-40B4-BE49-F238E27FC236}">
                <a16:creationId xmlns:a16="http://schemas.microsoft.com/office/drawing/2014/main" xmlns="" id="{713A8A89-8EE1-4F25-BE9D-C81F741D212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6" name="Slide Number Placeholder 5">
            <a:extLst>
              <a:ext uri="{FF2B5EF4-FFF2-40B4-BE49-F238E27FC236}">
                <a16:creationId xmlns:a16="http://schemas.microsoft.com/office/drawing/2014/main" xmlns="" id="{DA6289DB-0BAB-4325-829F-1D846B3E9A4E}"/>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ACA335-37F7-42C7-872A-92C3D7072F89}" type="slidenum">
              <a:rPr lang="ru-RU" smtClean="0"/>
              <a:t>‹#›</a:t>
            </a:fld>
            <a:endParaRPr lang="ru-RU"/>
          </a:p>
        </p:txBody>
      </p:sp>
    </p:spTree>
    <p:extLst>
      <p:ext uri="{BB962C8B-B14F-4D97-AF65-F5344CB8AC3E}">
        <p14:creationId xmlns:p14="http://schemas.microsoft.com/office/powerpoint/2010/main" val="37551483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hyperlink" Target="https://order.cgkipd.ru/"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3.jpeg"/></Relationships>
</file>

<file path=ppt/slides/_rels/slide28.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hyperlink" Target="mailto:geo@r47.rosreestr.ru" TargetMode="Externa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www.consultant.ru/document/cons_doc_LAW_413314/af14ec58681408bce13eb1aeb4f415d76addbe1f/#dst100076" TargetMode="External"/><Relationship Id="rId2" Type="http://schemas.openxmlformats.org/officeDocument/2006/relationships/image" Target="../media/image35.jp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3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le 1">
            <a:extLst>
              <a:ext uri="{FF2B5EF4-FFF2-40B4-BE49-F238E27FC236}">
                <a16:creationId xmlns:a16="http://schemas.microsoft.com/office/drawing/2014/main" xmlns="" id="{CE00ACF3-6AA5-4031-84D9-7A806B58E4D6}"/>
              </a:ext>
            </a:extLst>
          </p:cNvPr>
          <p:cNvSpPr>
            <a:spLocks noGrp="1"/>
          </p:cNvSpPr>
          <p:nvPr>
            <p:ph type="ctrTitle"/>
          </p:nvPr>
        </p:nvSpPr>
        <p:spPr>
          <a:xfrm>
            <a:off x="375105" y="1648881"/>
            <a:ext cx="5946798" cy="1785545"/>
          </a:xfrm>
        </p:spPr>
        <p:txBody>
          <a:bodyPr>
            <a:normAutofit fontScale="90000"/>
          </a:bodyPr>
          <a:lstStyle/>
          <a:p>
            <a:r>
              <a:rPr lang="ru-RU" dirty="0"/>
              <a:t>ЗАПОЛНЕНИЕ СВЕДЕНИЙ О ГЕОДЕЗИЧЕСКОЙ ОСНОВЕ</a:t>
            </a:r>
            <a:br>
              <a:rPr lang="ru-RU" dirty="0"/>
            </a:br>
            <a:r>
              <a:rPr lang="ru-RU" dirty="0"/>
              <a:t>В ФОРМАХ МЕЖЕВЫХ, ТЕХНИЧЕСКИХ ПЛАНОВ</a:t>
            </a:r>
          </a:p>
        </p:txBody>
      </p:sp>
      <p:sp>
        <p:nvSpPr>
          <p:cNvPr id="3" name="Subtitle 2">
            <a:extLst>
              <a:ext uri="{FF2B5EF4-FFF2-40B4-BE49-F238E27FC236}">
                <a16:creationId xmlns:a16="http://schemas.microsoft.com/office/drawing/2014/main" xmlns="" id="{2CAE5CEA-1EF5-489A-B311-A9247C914C3F}"/>
              </a:ext>
            </a:extLst>
          </p:cNvPr>
          <p:cNvSpPr>
            <a:spLocks noGrp="1"/>
          </p:cNvSpPr>
          <p:nvPr>
            <p:ph type="subTitle" idx="1"/>
          </p:nvPr>
        </p:nvSpPr>
        <p:spPr>
          <a:xfrm>
            <a:off x="379186" y="4096215"/>
            <a:ext cx="5716815" cy="1593386"/>
          </a:xfrm>
        </p:spPr>
        <p:txBody>
          <a:bodyPr>
            <a:normAutofit fontScale="77500" lnSpcReduction="20000"/>
          </a:bodyPr>
          <a:lstStyle/>
          <a:p>
            <a:r>
              <a:rPr lang="ru-RU" sz="2900" dirty="0"/>
              <a:t>Начальник отдела землеустройства и мониторинга земель, кадастровой оценки недвижимости, геодезии и картографии</a:t>
            </a:r>
          </a:p>
          <a:p>
            <a:r>
              <a:rPr lang="ru-RU" sz="2900" dirty="0"/>
              <a:t>Дарья Юрьевна </a:t>
            </a:r>
            <a:r>
              <a:rPr lang="ru-RU" sz="2900" dirty="0" err="1"/>
              <a:t>Сердцева</a:t>
            </a:r>
            <a:endParaRPr lang="ru-RU" sz="2900" dirty="0"/>
          </a:p>
          <a:p>
            <a:r>
              <a:rPr lang="ru-RU" sz="2900" dirty="0"/>
              <a:t>2022 г.</a:t>
            </a:r>
            <a:endParaRPr lang="ru-RU" dirty="0"/>
          </a:p>
        </p:txBody>
      </p:sp>
      <p:sp>
        <p:nvSpPr>
          <p:cNvPr id="10" name="Text Placeholder 9">
            <a:extLst>
              <a:ext uri="{FF2B5EF4-FFF2-40B4-BE49-F238E27FC236}">
                <a16:creationId xmlns:a16="http://schemas.microsoft.com/office/drawing/2014/main" xmlns="" id="{366FC7F0-6976-4551-A243-3165A3833F21}"/>
              </a:ext>
            </a:extLst>
          </p:cNvPr>
          <p:cNvSpPr>
            <a:spLocks noGrp="1"/>
          </p:cNvSpPr>
          <p:nvPr>
            <p:ph type="body" sz="quarter" idx="11"/>
          </p:nvPr>
        </p:nvSpPr>
        <p:spPr>
          <a:xfrm>
            <a:off x="379186" y="5983288"/>
            <a:ext cx="11348357" cy="784994"/>
          </a:xfrm>
        </p:spPr>
        <p:txBody>
          <a:bodyPr/>
          <a:lstStyle/>
          <a:p>
            <a:r>
              <a:rPr lang="ru-RU" dirty="0"/>
              <a:t>Источник: Методические рекомендации, утвержденные Образовательно-методической коллегией Национальной палаты кадастровых инженеров (Протокол № 03/21 от 18.03.2021) </a:t>
            </a:r>
          </a:p>
        </p:txBody>
      </p:sp>
      <p:sp>
        <p:nvSpPr>
          <p:cNvPr id="8" name="Прямоугольник 76"/>
          <p:cNvSpPr/>
          <p:nvPr/>
        </p:nvSpPr>
        <p:spPr bwMode="auto">
          <a:xfrm>
            <a:off x="1981976" y="5187464"/>
            <a:ext cx="184731" cy="29533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319" b="1" i="0" u="none" strike="noStrike" kern="1200" cap="none" spc="0" normalizeH="0" baseline="0" noProof="0" dirty="0">
              <a:ln>
                <a:noFill/>
              </a:ln>
              <a:solidFill>
                <a:srgbClr val="407EBE"/>
              </a:solidFill>
              <a:effectLst/>
              <a:uLnTx/>
              <a:uFillTx/>
              <a:latin typeface="Arial"/>
              <a:ea typeface="Segoe UI Symbol"/>
              <a:cs typeface="+mn-cs"/>
            </a:endParaRPr>
          </a:p>
        </p:txBody>
      </p:sp>
      <p:sp>
        <p:nvSpPr>
          <p:cNvPr id="7" name="Title 1">
            <a:extLst>
              <a:ext uri="{FF2B5EF4-FFF2-40B4-BE49-F238E27FC236}">
                <a16:creationId xmlns:a16="http://schemas.microsoft.com/office/drawing/2014/main" xmlns="" id="{787E41F1-CA65-45B6-B2CE-5C337D8F5BEF}"/>
              </a:ext>
            </a:extLst>
          </p:cNvPr>
          <p:cNvSpPr txBox="1">
            <a:spLocks/>
          </p:cNvSpPr>
          <p:nvPr/>
        </p:nvSpPr>
        <p:spPr bwMode="auto">
          <a:xfrm>
            <a:off x="6963237" y="2961356"/>
            <a:ext cx="5716815" cy="2149315"/>
          </a:xfrm>
          <a:prstGeom prst="rect">
            <a:avLst/>
          </a:prstGeom>
        </p:spPr>
        <p:txBody>
          <a:bodyPr vert="horz" lIns="91440" tIns="45720" rIns="91440" bIns="45720" rtlCol="0" anchor="t">
            <a:normAutofit/>
          </a:bodyPr>
          <a:lstStyle>
            <a:lvl1pPr algn="r" defTabSz="914377" rtl="0" eaLnBrk="1" latinLnBrk="0" hangingPunct="1">
              <a:lnSpc>
                <a:spcPct val="90000"/>
              </a:lnSpc>
              <a:spcBef>
                <a:spcPct val="0"/>
              </a:spcBef>
              <a:buNone/>
              <a:defRPr sz="3600" b="1" kern="1200">
                <a:solidFill>
                  <a:srgbClr val="000000"/>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ru-RU" sz="4000" b="1" i="0" u="none" strike="noStrike" kern="1200" cap="none" spc="0" normalizeH="0" baseline="0" noProof="0" dirty="0">
              <a:ln>
                <a:noFill/>
              </a:ln>
              <a:solidFill>
                <a:srgbClr val="4D4D4D"/>
              </a:solidFill>
              <a:effectLst/>
              <a:uLnTx/>
              <a:uFillTx/>
              <a:latin typeface="Arial"/>
              <a:ea typeface="+mj-ea"/>
              <a:cs typeface="+mj-cs"/>
            </a:endParaRPr>
          </a:p>
        </p:txBody>
      </p:sp>
      <p:grpSp>
        <p:nvGrpSpPr>
          <p:cNvPr id="18" name="Group 13">
            <a:extLst>
              <a:ext uri="{FF2B5EF4-FFF2-40B4-BE49-F238E27FC236}">
                <a16:creationId xmlns:a16="http://schemas.microsoft.com/office/drawing/2014/main" xmlns="" id="{32690A12-A9E8-493E-9C9D-02B0751C1491}"/>
              </a:ext>
            </a:extLst>
          </p:cNvPr>
          <p:cNvGrpSpPr/>
          <p:nvPr/>
        </p:nvGrpSpPr>
        <p:grpSpPr>
          <a:xfrm>
            <a:off x="7500489" y="2472214"/>
            <a:ext cx="3422435" cy="1817153"/>
            <a:chOff x="5652062" y="1948050"/>
            <a:chExt cx="2635351" cy="1256183"/>
          </a:xfrm>
        </p:grpSpPr>
        <p:grpSp>
          <p:nvGrpSpPr>
            <p:cNvPr id="19" name="Graphic 5">
              <a:extLst>
                <a:ext uri="{FF2B5EF4-FFF2-40B4-BE49-F238E27FC236}">
                  <a16:creationId xmlns:a16="http://schemas.microsoft.com/office/drawing/2014/main" xmlns="" id="{CE26ABDE-0EF1-478A-A9D2-E0F601450E07}"/>
                </a:ext>
              </a:extLst>
            </p:cNvPr>
            <p:cNvGrpSpPr/>
            <p:nvPr/>
          </p:nvGrpSpPr>
          <p:grpSpPr>
            <a:xfrm>
              <a:off x="5652062" y="1976160"/>
              <a:ext cx="1836418" cy="1178879"/>
              <a:chOff x="5652062" y="1976160"/>
              <a:chExt cx="1836418" cy="1178879"/>
            </a:xfrm>
            <a:solidFill>
              <a:srgbClr val="000000"/>
            </a:solidFill>
          </p:grpSpPr>
          <p:sp>
            <p:nvSpPr>
              <p:cNvPr id="21" name="Freeform: Shape 8">
                <a:extLst>
                  <a:ext uri="{FF2B5EF4-FFF2-40B4-BE49-F238E27FC236}">
                    <a16:creationId xmlns:a16="http://schemas.microsoft.com/office/drawing/2014/main" xmlns="" id="{16A01A38-9ECF-4CCC-ABDE-7730E758F308}"/>
                  </a:ext>
                </a:extLst>
              </p:cNvPr>
              <p:cNvSpPr/>
              <p:nvPr/>
            </p:nvSpPr>
            <p:spPr>
              <a:xfrm>
                <a:off x="6140540" y="3016245"/>
                <a:ext cx="522187" cy="54463"/>
              </a:xfrm>
              <a:custGeom>
                <a:avLst/>
                <a:gdLst>
                  <a:gd name="connsiteX0" fmla="*/ 512955 w 522187"/>
                  <a:gd name="connsiteY0" fmla="*/ 0 h 54463"/>
                  <a:gd name="connsiteX1" fmla="*/ 265232 w 522187"/>
                  <a:gd name="connsiteY1" fmla="*/ 0 h 54463"/>
                  <a:gd name="connsiteX2" fmla="*/ 17509 w 522187"/>
                  <a:gd name="connsiteY2" fmla="*/ 0 h 54463"/>
                  <a:gd name="connsiteX3" fmla="*/ 6967 w 522187"/>
                  <a:gd name="connsiteY3" fmla="*/ 10541 h 54463"/>
                  <a:gd name="connsiteX4" fmla="*/ 1697 w 522187"/>
                  <a:gd name="connsiteY4" fmla="*/ 42166 h 54463"/>
                  <a:gd name="connsiteX5" fmla="*/ 8724 w 522187"/>
                  <a:gd name="connsiteY5" fmla="*/ 54464 h 54463"/>
                  <a:gd name="connsiteX6" fmla="*/ 324967 w 522187"/>
                  <a:gd name="connsiteY6" fmla="*/ 54464 h 54463"/>
                  <a:gd name="connsiteX7" fmla="*/ 469032 w 522187"/>
                  <a:gd name="connsiteY7" fmla="*/ 54464 h 54463"/>
                  <a:gd name="connsiteX8" fmla="*/ 521740 w 522187"/>
                  <a:gd name="connsiteY8" fmla="*/ 12298 h 54463"/>
                  <a:gd name="connsiteX9" fmla="*/ 512955 w 522187"/>
                  <a:gd name="connsiteY9" fmla="*/ 0 h 5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2187" h="54463">
                    <a:moveTo>
                      <a:pt x="512955" y="0"/>
                    </a:moveTo>
                    <a:cubicBezTo>
                      <a:pt x="430381" y="0"/>
                      <a:pt x="347806" y="0"/>
                      <a:pt x="265232" y="0"/>
                    </a:cubicBezTo>
                    <a:cubicBezTo>
                      <a:pt x="182658" y="0"/>
                      <a:pt x="100083" y="0"/>
                      <a:pt x="17509" y="0"/>
                    </a:cubicBezTo>
                    <a:cubicBezTo>
                      <a:pt x="10481" y="0"/>
                      <a:pt x="6967" y="1757"/>
                      <a:pt x="6967" y="10541"/>
                    </a:cubicBezTo>
                    <a:cubicBezTo>
                      <a:pt x="6967" y="21083"/>
                      <a:pt x="3454" y="31624"/>
                      <a:pt x="1697" y="42166"/>
                    </a:cubicBezTo>
                    <a:cubicBezTo>
                      <a:pt x="-1817" y="52707"/>
                      <a:pt x="-60" y="54464"/>
                      <a:pt x="8724" y="54464"/>
                    </a:cubicBezTo>
                    <a:cubicBezTo>
                      <a:pt x="114138" y="52707"/>
                      <a:pt x="219552" y="54464"/>
                      <a:pt x="324967" y="54464"/>
                    </a:cubicBezTo>
                    <a:cubicBezTo>
                      <a:pt x="372403" y="54464"/>
                      <a:pt x="421596" y="54464"/>
                      <a:pt x="469032" y="54464"/>
                    </a:cubicBezTo>
                    <a:cubicBezTo>
                      <a:pt x="495386" y="52707"/>
                      <a:pt x="516469" y="36895"/>
                      <a:pt x="521740" y="12298"/>
                    </a:cubicBezTo>
                    <a:cubicBezTo>
                      <a:pt x="523496" y="0"/>
                      <a:pt x="519983" y="0"/>
                      <a:pt x="512955" y="0"/>
                    </a:cubicBezTo>
                    <a:close/>
                  </a:path>
                </a:pathLst>
              </a:custGeom>
              <a:noFill/>
              <a:ln w="17526" cap="flat">
                <a:noFill/>
                <a:prstDash val="solid"/>
                <a:miter/>
              </a:ln>
            </p:spPr>
            <p:txBody>
              <a:bodyPr rtlCol="0" anchor="ctr"/>
              <a:lstStyle/>
              <a:p>
                <a:pPr marL="0" marR="0" lvl="0" indent="0" defTabSz="349261" eaLnBrk="1" fontAlgn="auto" latinLnBrk="0" hangingPunct="1">
                  <a:lnSpc>
                    <a:spcPct val="100000"/>
                  </a:lnSpc>
                  <a:spcBef>
                    <a:spcPts val="0"/>
                  </a:spcBef>
                  <a:spcAft>
                    <a:spcPts val="0"/>
                  </a:spcAft>
                  <a:buClrTx/>
                  <a:buSzTx/>
                  <a:buFontTx/>
                  <a:buNone/>
                  <a:tabLst/>
                  <a:defRPr/>
                </a:pPr>
                <a:endParaRPr kumimoji="0" lang="ru-RU" sz="700" b="0" i="0" u="none" strike="noStrike" kern="0" cap="none" spc="0" normalizeH="0" baseline="0" noProof="0" dirty="0">
                  <a:ln>
                    <a:noFill/>
                  </a:ln>
                  <a:solidFill>
                    <a:srgbClr val="000000"/>
                  </a:solidFill>
                  <a:effectLst/>
                  <a:uLnTx/>
                  <a:uFillTx/>
                </a:endParaRPr>
              </a:p>
            </p:txBody>
          </p:sp>
          <p:sp>
            <p:nvSpPr>
              <p:cNvPr id="22" name="Freeform: Shape 9">
                <a:extLst>
                  <a:ext uri="{FF2B5EF4-FFF2-40B4-BE49-F238E27FC236}">
                    <a16:creationId xmlns:a16="http://schemas.microsoft.com/office/drawing/2014/main" xmlns="" id="{6CAF3460-B825-47F5-81AA-4224533D88C2}"/>
                  </a:ext>
                </a:extLst>
              </p:cNvPr>
              <p:cNvSpPr/>
              <p:nvPr/>
            </p:nvSpPr>
            <p:spPr>
              <a:xfrm>
                <a:off x="5732879" y="2060491"/>
                <a:ext cx="104438" cy="107170"/>
              </a:xfrm>
              <a:custGeom>
                <a:avLst/>
                <a:gdLst>
                  <a:gd name="connsiteX0" fmla="*/ 52707 w 104438"/>
                  <a:gd name="connsiteY0" fmla="*/ 0 h 107170"/>
                  <a:gd name="connsiteX1" fmla="*/ 0 w 104438"/>
                  <a:gd name="connsiteY1" fmla="*/ 52707 h 107170"/>
                  <a:gd name="connsiteX2" fmla="*/ 0 w 104438"/>
                  <a:gd name="connsiteY2" fmla="*/ 98386 h 107170"/>
                  <a:gd name="connsiteX3" fmla="*/ 8785 w 104438"/>
                  <a:gd name="connsiteY3" fmla="*/ 107171 h 107170"/>
                  <a:gd name="connsiteX4" fmla="*/ 52707 w 104438"/>
                  <a:gd name="connsiteY4" fmla="*/ 107171 h 107170"/>
                  <a:gd name="connsiteX5" fmla="*/ 96630 w 104438"/>
                  <a:gd name="connsiteY5" fmla="*/ 107171 h 107170"/>
                  <a:gd name="connsiteX6" fmla="*/ 103657 w 104438"/>
                  <a:gd name="connsiteY6" fmla="*/ 100143 h 107170"/>
                  <a:gd name="connsiteX7" fmla="*/ 103657 w 104438"/>
                  <a:gd name="connsiteY7" fmla="*/ 52707 h 107170"/>
                  <a:gd name="connsiteX8" fmla="*/ 52707 w 104438"/>
                  <a:gd name="connsiteY8" fmla="*/ 0 h 10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38" h="107170">
                    <a:moveTo>
                      <a:pt x="52707" y="0"/>
                    </a:moveTo>
                    <a:cubicBezTo>
                      <a:pt x="24597" y="0"/>
                      <a:pt x="1757" y="22840"/>
                      <a:pt x="0" y="52707"/>
                    </a:cubicBezTo>
                    <a:cubicBezTo>
                      <a:pt x="0" y="66762"/>
                      <a:pt x="1757" y="82574"/>
                      <a:pt x="0" y="98386"/>
                    </a:cubicBezTo>
                    <a:cubicBezTo>
                      <a:pt x="0" y="103657"/>
                      <a:pt x="1757" y="107171"/>
                      <a:pt x="8785" y="107171"/>
                    </a:cubicBezTo>
                    <a:cubicBezTo>
                      <a:pt x="22840" y="105414"/>
                      <a:pt x="38652" y="107171"/>
                      <a:pt x="52707" y="107171"/>
                    </a:cubicBezTo>
                    <a:cubicBezTo>
                      <a:pt x="66762" y="107171"/>
                      <a:pt x="82574" y="107171"/>
                      <a:pt x="96630" y="107171"/>
                    </a:cubicBezTo>
                    <a:cubicBezTo>
                      <a:pt x="101900" y="107171"/>
                      <a:pt x="103657" y="105414"/>
                      <a:pt x="103657" y="100143"/>
                    </a:cubicBezTo>
                    <a:cubicBezTo>
                      <a:pt x="103657" y="84331"/>
                      <a:pt x="105414" y="68519"/>
                      <a:pt x="103657" y="52707"/>
                    </a:cubicBezTo>
                    <a:cubicBezTo>
                      <a:pt x="103657" y="22840"/>
                      <a:pt x="79061" y="0"/>
                      <a:pt x="52707" y="0"/>
                    </a:cubicBezTo>
                    <a:close/>
                  </a:path>
                </a:pathLst>
              </a:custGeom>
              <a:noFill/>
              <a:ln w="17526" cap="flat">
                <a:noFill/>
                <a:prstDash val="solid"/>
                <a:miter/>
              </a:ln>
            </p:spPr>
            <p:txBody>
              <a:bodyPr rtlCol="0" anchor="ctr"/>
              <a:lstStyle/>
              <a:p>
                <a:pPr marL="0" marR="0" lvl="0" indent="0" defTabSz="349261" eaLnBrk="1" fontAlgn="auto" latinLnBrk="0" hangingPunct="1">
                  <a:lnSpc>
                    <a:spcPct val="100000"/>
                  </a:lnSpc>
                  <a:spcBef>
                    <a:spcPts val="0"/>
                  </a:spcBef>
                  <a:spcAft>
                    <a:spcPts val="0"/>
                  </a:spcAft>
                  <a:buClrTx/>
                  <a:buSzTx/>
                  <a:buFontTx/>
                  <a:buNone/>
                  <a:tabLst/>
                  <a:defRPr/>
                </a:pPr>
                <a:endParaRPr kumimoji="0" lang="ru-RU" sz="700" b="0" i="0" u="none" strike="noStrike" kern="0" cap="none" spc="0" normalizeH="0" baseline="0" noProof="0">
                  <a:ln>
                    <a:noFill/>
                  </a:ln>
                  <a:solidFill>
                    <a:srgbClr val="000000"/>
                  </a:solidFill>
                  <a:effectLst/>
                  <a:uLnTx/>
                  <a:uFillTx/>
                </a:endParaRPr>
              </a:p>
            </p:txBody>
          </p:sp>
          <p:sp>
            <p:nvSpPr>
              <p:cNvPr id="23" name="Freeform: Shape 10">
                <a:extLst>
                  <a:ext uri="{FF2B5EF4-FFF2-40B4-BE49-F238E27FC236}">
                    <a16:creationId xmlns:a16="http://schemas.microsoft.com/office/drawing/2014/main" xmlns="" id="{A3651F99-7EAB-478E-95D3-F1553600556C}"/>
                  </a:ext>
                </a:extLst>
              </p:cNvPr>
              <p:cNvSpPr/>
              <p:nvPr/>
            </p:nvSpPr>
            <p:spPr>
              <a:xfrm>
                <a:off x="5652062" y="1976160"/>
                <a:ext cx="1092792" cy="1178879"/>
              </a:xfrm>
              <a:custGeom>
                <a:avLst/>
                <a:gdLst>
                  <a:gd name="connsiteX0" fmla="*/ 1092793 w 1092792"/>
                  <a:gd name="connsiteY0" fmla="*/ 953997 h 1178879"/>
                  <a:gd name="connsiteX1" fmla="*/ 920616 w 1092792"/>
                  <a:gd name="connsiteY1" fmla="*/ 953997 h 1178879"/>
                  <a:gd name="connsiteX2" fmla="*/ 885478 w 1092792"/>
                  <a:gd name="connsiteY2" fmla="*/ 918859 h 1178879"/>
                  <a:gd name="connsiteX3" fmla="*/ 885478 w 1092792"/>
                  <a:gd name="connsiteY3" fmla="*/ 565722 h 1178879"/>
                  <a:gd name="connsiteX4" fmla="*/ 823987 w 1092792"/>
                  <a:gd name="connsiteY4" fmla="*/ 576263 h 1178879"/>
                  <a:gd name="connsiteX5" fmla="*/ 823987 w 1092792"/>
                  <a:gd name="connsiteY5" fmla="*/ 920616 h 1178879"/>
                  <a:gd name="connsiteX6" fmla="*/ 816959 w 1092792"/>
                  <a:gd name="connsiteY6" fmla="*/ 945212 h 1178879"/>
                  <a:gd name="connsiteX7" fmla="*/ 792363 w 1092792"/>
                  <a:gd name="connsiteY7" fmla="*/ 955754 h 1178879"/>
                  <a:gd name="connsiteX8" fmla="*/ 412872 w 1092792"/>
                  <a:gd name="connsiteY8" fmla="*/ 953997 h 1178879"/>
                  <a:gd name="connsiteX9" fmla="*/ 412872 w 1092792"/>
                  <a:gd name="connsiteY9" fmla="*/ 1040085 h 1178879"/>
                  <a:gd name="connsiteX10" fmla="*/ 383004 w 1092792"/>
                  <a:gd name="connsiteY10" fmla="*/ 1099819 h 1178879"/>
                  <a:gd name="connsiteX11" fmla="*/ 319756 w 1092792"/>
                  <a:gd name="connsiteY11" fmla="*/ 1110361 h 1178879"/>
                  <a:gd name="connsiteX12" fmla="*/ 268806 w 1092792"/>
                  <a:gd name="connsiteY12" fmla="*/ 1034814 h 1178879"/>
                  <a:gd name="connsiteX13" fmla="*/ 268806 w 1092792"/>
                  <a:gd name="connsiteY13" fmla="*/ 142309 h 1178879"/>
                  <a:gd name="connsiteX14" fmla="*/ 263535 w 1092792"/>
                  <a:gd name="connsiteY14" fmla="*/ 100143 h 1178879"/>
                  <a:gd name="connsiteX15" fmla="*/ 265292 w 1092792"/>
                  <a:gd name="connsiteY15" fmla="*/ 75547 h 1178879"/>
                  <a:gd name="connsiteX16" fmla="*/ 289889 w 1092792"/>
                  <a:gd name="connsiteY16" fmla="*/ 65005 h 1178879"/>
                  <a:gd name="connsiteX17" fmla="*/ 750197 w 1092792"/>
                  <a:gd name="connsiteY17" fmla="*/ 65005 h 1178879"/>
                  <a:gd name="connsiteX18" fmla="*/ 823987 w 1092792"/>
                  <a:gd name="connsiteY18" fmla="*/ 142309 h 1178879"/>
                  <a:gd name="connsiteX19" fmla="*/ 823987 w 1092792"/>
                  <a:gd name="connsiteY19" fmla="*/ 209071 h 1178879"/>
                  <a:gd name="connsiteX20" fmla="*/ 885478 w 1092792"/>
                  <a:gd name="connsiteY20" fmla="*/ 205557 h 1178879"/>
                  <a:gd name="connsiteX21" fmla="*/ 885478 w 1092792"/>
                  <a:gd name="connsiteY21" fmla="*/ 133524 h 1178879"/>
                  <a:gd name="connsiteX22" fmla="*/ 755468 w 1092792"/>
                  <a:gd name="connsiteY22" fmla="*/ 0 h 1178879"/>
                  <a:gd name="connsiteX23" fmla="*/ 130011 w 1092792"/>
                  <a:gd name="connsiteY23" fmla="*/ 0 h 1178879"/>
                  <a:gd name="connsiteX24" fmla="*/ 0 w 1092792"/>
                  <a:gd name="connsiteY24" fmla="*/ 133524 h 1178879"/>
                  <a:gd name="connsiteX25" fmla="*/ 0 w 1092792"/>
                  <a:gd name="connsiteY25" fmla="*/ 277590 h 1178879"/>
                  <a:gd name="connsiteX26" fmla="*/ 80817 w 1092792"/>
                  <a:gd name="connsiteY26" fmla="*/ 277590 h 1178879"/>
                  <a:gd name="connsiteX27" fmla="*/ 172176 w 1092792"/>
                  <a:gd name="connsiteY27" fmla="*/ 277590 h 1178879"/>
                  <a:gd name="connsiteX28" fmla="*/ 172176 w 1092792"/>
                  <a:gd name="connsiteY28" fmla="*/ 277590 h 1178879"/>
                  <a:gd name="connsiteX29" fmla="*/ 205557 w 1092792"/>
                  <a:gd name="connsiteY29" fmla="*/ 312728 h 1178879"/>
                  <a:gd name="connsiteX30" fmla="*/ 205557 w 1092792"/>
                  <a:gd name="connsiteY30" fmla="*/ 1043599 h 1178879"/>
                  <a:gd name="connsiteX31" fmla="*/ 335568 w 1092792"/>
                  <a:gd name="connsiteY31" fmla="*/ 1178880 h 1178879"/>
                  <a:gd name="connsiteX32" fmla="*/ 961025 w 1092792"/>
                  <a:gd name="connsiteY32" fmla="*/ 1178880 h 1178879"/>
                  <a:gd name="connsiteX33" fmla="*/ 1091036 w 1092792"/>
                  <a:gd name="connsiteY33" fmla="*/ 1043599 h 1178879"/>
                  <a:gd name="connsiteX34" fmla="*/ 1091036 w 1092792"/>
                  <a:gd name="connsiteY34" fmla="*/ 953997 h 1178879"/>
                  <a:gd name="connsiteX35" fmla="*/ 205557 w 1092792"/>
                  <a:gd name="connsiteY35" fmla="*/ 168662 h 1178879"/>
                  <a:gd name="connsiteX36" fmla="*/ 205557 w 1092792"/>
                  <a:gd name="connsiteY36" fmla="*/ 184475 h 1178879"/>
                  <a:gd name="connsiteX37" fmla="*/ 177447 w 1092792"/>
                  <a:gd name="connsiteY37" fmla="*/ 212585 h 1178879"/>
                  <a:gd name="connsiteX38" fmla="*/ 133525 w 1092792"/>
                  <a:gd name="connsiteY38" fmla="*/ 212585 h 1178879"/>
                  <a:gd name="connsiteX39" fmla="*/ 117712 w 1092792"/>
                  <a:gd name="connsiteY39" fmla="*/ 212585 h 1178879"/>
                  <a:gd name="connsiteX40" fmla="*/ 91359 w 1092792"/>
                  <a:gd name="connsiteY40" fmla="*/ 212585 h 1178879"/>
                  <a:gd name="connsiteX41" fmla="*/ 89602 w 1092792"/>
                  <a:gd name="connsiteY41" fmla="*/ 212585 h 1178879"/>
                  <a:gd name="connsiteX42" fmla="*/ 59735 w 1092792"/>
                  <a:gd name="connsiteY42" fmla="*/ 182718 h 1178879"/>
                  <a:gd name="connsiteX43" fmla="*/ 59735 w 1092792"/>
                  <a:gd name="connsiteY43" fmla="*/ 152850 h 1178879"/>
                  <a:gd name="connsiteX44" fmla="*/ 59735 w 1092792"/>
                  <a:gd name="connsiteY44" fmla="*/ 137038 h 1178879"/>
                  <a:gd name="connsiteX45" fmla="*/ 133525 w 1092792"/>
                  <a:gd name="connsiteY45" fmla="*/ 63248 h 1178879"/>
                  <a:gd name="connsiteX46" fmla="*/ 205557 w 1092792"/>
                  <a:gd name="connsiteY46" fmla="*/ 137038 h 1178879"/>
                  <a:gd name="connsiteX47" fmla="*/ 205557 w 1092792"/>
                  <a:gd name="connsiteY47" fmla="*/ 168662 h 1178879"/>
                  <a:gd name="connsiteX48" fmla="*/ 1029544 w 1092792"/>
                  <a:gd name="connsiteY48" fmla="*/ 1055897 h 1178879"/>
                  <a:gd name="connsiteX49" fmla="*/ 957511 w 1092792"/>
                  <a:gd name="connsiteY49" fmla="*/ 1113875 h 1178879"/>
                  <a:gd name="connsiteX50" fmla="*/ 811688 w 1092792"/>
                  <a:gd name="connsiteY50" fmla="*/ 1113875 h 1178879"/>
                  <a:gd name="connsiteX51" fmla="*/ 706274 w 1092792"/>
                  <a:gd name="connsiteY51" fmla="*/ 1113875 h 1178879"/>
                  <a:gd name="connsiteX52" fmla="*/ 495446 w 1092792"/>
                  <a:gd name="connsiteY52" fmla="*/ 1113875 h 1178879"/>
                  <a:gd name="connsiteX53" fmla="*/ 469093 w 1092792"/>
                  <a:gd name="connsiteY53" fmla="*/ 1103333 h 1178879"/>
                  <a:gd name="connsiteX54" fmla="*/ 467336 w 1092792"/>
                  <a:gd name="connsiteY54" fmla="*/ 1075223 h 1178879"/>
                  <a:gd name="connsiteX55" fmla="*/ 472606 w 1092792"/>
                  <a:gd name="connsiteY55" fmla="*/ 1050626 h 1178879"/>
                  <a:gd name="connsiteX56" fmla="*/ 477877 w 1092792"/>
                  <a:gd name="connsiteY56" fmla="*/ 1027787 h 1178879"/>
                  <a:gd name="connsiteX57" fmla="*/ 502474 w 1092792"/>
                  <a:gd name="connsiteY57" fmla="*/ 1017245 h 1178879"/>
                  <a:gd name="connsiteX58" fmla="*/ 1001434 w 1092792"/>
                  <a:gd name="connsiteY58" fmla="*/ 1017245 h 1178879"/>
                  <a:gd name="connsiteX59" fmla="*/ 1026030 w 1092792"/>
                  <a:gd name="connsiteY59" fmla="*/ 1027787 h 1178879"/>
                  <a:gd name="connsiteX60" fmla="*/ 1029544 w 1092792"/>
                  <a:gd name="connsiteY60" fmla="*/ 1055897 h 1178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092792" h="1178879">
                    <a:moveTo>
                      <a:pt x="1092793" y="953997"/>
                    </a:moveTo>
                    <a:lnTo>
                      <a:pt x="920616" y="953997"/>
                    </a:lnTo>
                    <a:cubicBezTo>
                      <a:pt x="894263" y="953997"/>
                      <a:pt x="885478" y="945212"/>
                      <a:pt x="885478" y="918859"/>
                    </a:cubicBezTo>
                    <a:lnTo>
                      <a:pt x="885478" y="565722"/>
                    </a:lnTo>
                    <a:cubicBezTo>
                      <a:pt x="866152" y="563965"/>
                      <a:pt x="846826" y="567479"/>
                      <a:pt x="823987" y="576263"/>
                    </a:cubicBezTo>
                    <a:lnTo>
                      <a:pt x="823987" y="920616"/>
                    </a:lnTo>
                    <a:cubicBezTo>
                      <a:pt x="823987" y="925886"/>
                      <a:pt x="825744" y="936428"/>
                      <a:pt x="816959" y="945212"/>
                    </a:cubicBezTo>
                    <a:cubicBezTo>
                      <a:pt x="809932" y="955754"/>
                      <a:pt x="795876" y="955754"/>
                      <a:pt x="792363" y="955754"/>
                    </a:cubicBezTo>
                    <a:cubicBezTo>
                      <a:pt x="665866" y="953997"/>
                      <a:pt x="537612" y="953997"/>
                      <a:pt x="412872" y="953997"/>
                    </a:cubicBezTo>
                    <a:lnTo>
                      <a:pt x="412872" y="1040085"/>
                    </a:lnTo>
                    <a:cubicBezTo>
                      <a:pt x="412872" y="1064681"/>
                      <a:pt x="402330" y="1085764"/>
                      <a:pt x="383004" y="1099819"/>
                    </a:cubicBezTo>
                    <a:cubicBezTo>
                      <a:pt x="365435" y="1113875"/>
                      <a:pt x="340839" y="1117388"/>
                      <a:pt x="319756" y="1110361"/>
                    </a:cubicBezTo>
                    <a:cubicBezTo>
                      <a:pt x="288132" y="1099819"/>
                      <a:pt x="268806" y="1071709"/>
                      <a:pt x="268806" y="1034814"/>
                    </a:cubicBezTo>
                    <a:lnTo>
                      <a:pt x="268806" y="142309"/>
                    </a:lnTo>
                    <a:cubicBezTo>
                      <a:pt x="268806" y="126497"/>
                      <a:pt x="267049" y="112442"/>
                      <a:pt x="263535" y="100143"/>
                    </a:cubicBezTo>
                    <a:cubicBezTo>
                      <a:pt x="261778" y="94873"/>
                      <a:pt x="258265" y="84331"/>
                      <a:pt x="265292" y="75547"/>
                    </a:cubicBezTo>
                    <a:cubicBezTo>
                      <a:pt x="272320" y="65005"/>
                      <a:pt x="284618" y="65005"/>
                      <a:pt x="289889" y="65005"/>
                    </a:cubicBezTo>
                    <a:lnTo>
                      <a:pt x="750197" y="65005"/>
                    </a:lnTo>
                    <a:cubicBezTo>
                      <a:pt x="794119" y="65005"/>
                      <a:pt x="823987" y="96630"/>
                      <a:pt x="823987" y="142309"/>
                    </a:cubicBezTo>
                    <a:lnTo>
                      <a:pt x="823987" y="209071"/>
                    </a:lnTo>
                    <a:cubicBezTo>
                      <a:pt x="845070" y="205557"/>
                      <a:pt x="866152" y="205557"/>
                      <a:pt x="885478" y="205557"/>
                    </a:cubicBezTo>
                    <a:lnTo>
                      <a:pt x="885478" y="133524"/>
                    </a:lnTo>
                    <a:cubicBezTo>
                      <a:pt x="885478" y="61491"/>
                      <a:pt x="825744" y="0"/>
                      <a:pt x="755468" y="0"/>
                    </a:cubicBezTo>
                    <a:lnTo>
                      <a:pt x="130011" y="0"/>
                    </a:lnTo>
                    <a:cubicBezTo>
                      <a:pt x="59735" y="0"/>
                      <a:pt x="0" y="61491"/>
                      <a:pt x="0" y="133524"/>
                    </a:cubicBezTo>
                    <a:lnTo>
                      <a:pt x="0" y="277590"/>
                    </a:lnTo>
                    <a:cubicBezTo>
                      <a:pt x="28110" y="277590"/>
                      <a:pt x="54464" y="277590"/>
                      <a:pt x="80817" y="277590"/>
                    </a:cubicBezTo>
                    <a:cubicBezTo>
                      <a:pt x="110685" y="277590"/>
                      <a:pt x="140552" y="277590"/>
                      <a:pt x="172176" y="277590"/>
                    </a:cubicBezTo>
                    <a:cubicBezTo>
                      <a:pt x="172176" y="277590"/>
                      <a:pt x="172176" y="277590"/>
                      <a:pt x="172176" y="277590"/>
                    </a:cubicBezTo>
                    <a:cubicBezTo>
                      <a:pt x="205557" y="277590"/>
                      <a:pt x="205557" y="303944"/>
                      <a:pt x="205557" y="312728"/>
                    </a:cubicBezTo>
                    <a:lnTo>
                      <a:pt x="205557" y="1043599"/>
                    </a:lnTo>
                    <a:cubicBezTo>
                      <a:pt x="205557" y="1117388"/>
                      <a:pt x="265292" y="1178880"/>
                      <a:pt x="335568" y="1178880"/>
                    </a:cubicBezTo>
                    <a:lnTo>
                      <a:pt x="961025" y="1178880"/>
                    </a:lnTo>
                    <a:cubicBezTo>
                      <a:pt x="1031301" y="1178880"/>
                      <a:pt x="1091036" y="1117388"/>
                      <a:pt x="1091036" y="1043599"/>
                    </a:cubicBezTo>
                    <a:lnTo>
                      <a:pt x="1091036" y="953997"/>
                    </a:lnTo>
                    <a:close/>
                    <a:moveTo>
                      <a:pt x="205557" y="168662"/>
                    </a:moveTo>
                    <a:cubicBezTo>
                      <a:pt x="205557" y="173933"/>
                      <a:pt x="205557" y="179204"/>
                      <a:pt x="205557" y="184475"/>
                    </a:cubicBezTo>
                    <a:cubicBezTo>
                      <a:pt x="205557" y="202044"/>
                      <a:pt x="195016" y="212585"/>
                      <a:pt x="177447" y="212585"/>
                    </a:cubicBezTo>
                    <a:lnTo>
                      <a:pt x="133525" y="212585"/>
                    </a:lnTo>
                    <a:cubicBezTo>
                      <a:pt x="128254" y="212585"/>
                      <a:pt x="122983" y="212585"/>
                      <a:pt x="117712" y="212585"/>
                    </a:cubicBezTo>
                    <a:cubicBezTo>
                      <a:pt x="108928" y="212585"/>
                      <a:pt x="98386" y="212585"/>
                      <a:pt x="91359" y="212585"/>
                    </a:cubicBezTo>
                    <a:lnTo>
                      <a:pt x="89602" y="212585"/>
                    </a:lnTo>
                    <a:cubicBezTo>
                      <a:pt x="72033" y="212585"/>
                      <a:pt x="59735" y="200287"/>
                      <a:pt x="59735" y="182718"/>
                    </a:cubicBezTo>
                    <a:cubicBezTo>
                      <a:pt x="61492" y="172176"/>
                      <a:pt x="59735" y="161635"/>
                      <a:pt x="59735" y="152850"/>
                    </a:cubicBezTo>
                    <a:cubicBezTo>
                      <a:pt x="59735" y="147580"/>
                      <a:pt x="59735" y="142309"/>
                      <a:pt x="59735" y="137038"/>
                    </a:cubicBezTo>
                    <a:cubicBezTo>
                      <a:pt x="61492" y="94873"/>
                      <a:pt x="93116" y="63248"/>
                      <a:pt x="133525" y="63248"/>
                    </a:cubicBezTo>
                    <a:cubicBezTo>
                      <a:pt x="173933" y="63248"/>
                      <a:pt x="205557" y="96630"/>
                      <a:pt x="205557" y="137038"/>
                    </a:cubicBezTo>
                    <a:cubicBezTo>
                      <a:pt x="205557" y="145823"/>
                      <a:pt x="205557" y="158121"/>
                      <a:pt x="205557" y="168662"/>
                    </a:cubicBezTo>
                    <a:close/>
                    <a:moveTo>
                      <a:pt x="1029544" y="1055897"/>
                    </a:moveTo>
                    <a:cubicBezTo>
                      <a:pt x="1020760" y="1089278"/>
                      <a:pt x="994406" y="1112118"/>
                      <a:pt x="957511" y="1113875"/>
                    </a:cubicBezTo>
                    <a:lnTo>
                      <a:pt x="811688" y="1113875"/>
                    </a:lnTo>
                    <a:cubicBezTo>
                      <a:pt x="776550" y="1113875"/>
                      <a:pt x="741412" y="1113875"/>
                      <a:pt x="706274" y="1113875"/>
                    </a:cubicBezTo>
                    <a:cubicBezTo>
                      <a:pt x="637755" y="1113875"/>
                      <a:pt x="565722" y="1113875"/>
                      <a:pt x="495446" y="1113875"/>
                    </a:cubicBezTo>
                    <a:cubicBezTo>
                      <a:pt x="490175" y="1113875"/>
                      <a:pt x="477877" y="1113875"/>
                      <a:pt x="469093" y="1103333"/>
                    </a:cubicBezTo>
                    <a:cubicBezTo>
                      <a:pt x="462065" y="1092792"/>
                      <a:pt x="465579" y="1080494"/>
                      <a:pt x="467336" y="1075223"/>
                    </a:cubicBezTo>
                    <a:cubicBezTo>
                      <a:pt x="469093" y="1068195"/>
                      <a:pt x="470850" y="1057654"/>
                      <a:pt x="472606" y="1050626"/>
                    </a:cubicBezTo>
                    <a:cubicBezTo>
                      <a:pt x="470850" y="1040085"/>
                      <a:pt x="474363" y="1033057"/>
                      <a:pt x="477877" y="1027787"/>
                    </a:cubicBezTo>
                    <a:cubicBezTo>
                      <a:pt x="486662" y="1017245"/>
                      <a:pt x="498960" y="1017245"/>
                      <a:pt x="502474" y="1017245"/>
                    </a:cubicBezTo>
                    <a:lnTo>
                      <a:pt x="1001434" y="1017245"/>
                    </a:lnTo>
                    <a:cubicBezTo>
                      <a:pt x="1006704" y="1017245"/>
                      <a:pt x="1019003" y="1017245"/>
                      <a:pt x="1026030" y="1027787"/>
                    </a:cubicBezTo>
                    <a:cubicBezTo>
                      <a:pt x="1033058" y="1040085"/>
                      <a:pt x="1031301" y="1050626"/>
                      <a:pt x="1029544" y="1055897"/>
                    </a:cubicBezTo>
                    <a:close/>
                  </a:path>
                </a:pathLst>
              </a:custGeom>
              <a:solidFill>
                <a:srgbClr val="000000"/>
              </a:solidFill>
              <a:ln w="17526" cap="flat">
                <a:noFill/>
                <a:prstDash val="solid"/>
                <a:miter/>
              </a:ln>
            </p:spPr>
            <p:txBody>
              <a:bodyPr rtlCol="0" anchor="ctr"/>
              <a:lstStyle/>
              <a:p>
                <a:pPr marL="0" marR="0" lvl="0" indent="0" defTabSz="349261" eaLnBrk="1" fontAlgn="auto" latinLnBrk="0" hangingPunct="1">
                  <a:lnSpc>
                    <a:spcPct val="100000"/>
                  </a:lnSpc>
                  <a:spcBef>
                    <a:spcPts val="0"/>
                  </a:spcBef>
                  <a:spcAft>
                    <a:spcPts val="0"/>
                  </a:spcAft>
                  <a:buClrTx/>
                  <a:buSzTx/>
                  <a:buFontTx/>
                  <a:buNone/>
                  <a:tabLst/>
                  <a:defRPr/>
                </a:pPr>
                <a:endParaRPr kumimoji="0" lang="ru-RU" sz="700" b="0" i="0" u="none" strike="noStrike" kern="0" cap="none" spc="0" normalizeH="0" baseline="0" noProof="0">
                  <a:ln>
                    <a:noFill/>
                  </a:ln>
                  <a:solidFill>
                    <a:srgbClr val="000000"/>
                  </a:solidFill>
                  <a:effectLst/>
                  <a:uLnTx/>
                  <a:uFillTx/>
                </a:endParaRPr>
              </a:p>
            </p:txBody>
          </p:sp>
          <p:sp>
            <p:nvSpPr>
              <p:cNvPr id="24" name="Freeform: Shape 11">
                <a:extLst>
                  <a:ext uri="{FF2B5EF4-FFF2-40B4-BE49-F238E27FC236}">
                    <a16:creationId xmlns:a16="http://schemas.microsoft.com/office/drawing/2014/main" xmlns="" id="{E1B0FE1B-C56C-4665-986B-60770F8C3068}"/>
                  </a:ext>
                </a:extLst>
              </p:cNvPr>
              <p:cNvSpPr/>
              <p:nvPr/>
            </p:nvSpPr>
            <p:spPr>
              <a:xfrm>
                <a:off x="6270822" y="2300268"/>
                <a:ext cx="1217658" cy="312951"/>
              </a:xfrm>
              <a:custGeom>
                <a:avLst/>
                <a:gdLst>
                  <a:gd name="connsiteX0" fmla="*/ 855280 w 1217658"/>
                  <a:gd name="connsiteY0" fmla="*/ 304862 h 312951"/>
                  <a:gd name="connsiteX1" fmla="*/ 1095975 w 1217658"/>
                  <a:gd name="connsiteY1" fmla="*/ 190663 h 312951"/>
                  <a:gd name="connsiteX2" fmla="*/ 1113544 w 1217658"/>
                  <a:gd name="connsiteY2" fmla="*/ 190663 h 312951"/>
                  <a:gd name="connsiteX3" fmla="*/ 1182063 w 1217658"/>
                  <a:gd name="connsiteY3" fmla="*/ 260939 h 312951"/>
                  <a:gd name="connsiteX4" fmla="*/ 1183820 w 1217658"/>
                  <a:gd name="connsiteY4" fmla="*/ 255669 h 312951"/>
                  <a:gd name="connsiteX5" fmla="*/ 1217201 w 1217658"/>
                  <a:gd name="connsiteY5" fmla="*/ 7946 h 312951"/>
                  <a:gd name="connsiteX6" fmla="*/ 1210174 w 1217658"/>
                  <a:gd name="connsiteY6" fmla="*/ 918 h 312951"/>
                  <a:gd name="connsiteX7" fmla="*/ 1027456 w 1217658"/>
                  <a:gd name="connsiteY7" fmla="*/ 27272 h 312951"/>
                  <a:gd name="connsiteX8" fmla="*/ 964207 w 1217658"/>
                  <a:gd name="connsiteY8" fmla="*/ 37813 h 312951"/>
                  <a:gd name="connsiteX9" fmla="*/ 971235 w 1217658"/>
                  <a:gd name="connsiteY9" fmla="*/ 46597 h 312951"/>
                  <a:gd name="connsiteX10" fmla="*/ 1025699 w 1217658"/>
                  <a:gd name="connsiteY10" fmla="*/ 102818 h 312951"/>
                  <a:gd name="connsiteX11" fmla="*/ 1023942 w 1217658"/>
                  <a:gd name="connsiteY11" fmla="*/ 115117 h 312951"/>
                  <a:gd name="connsiteX12" fmla="*/ 906230 w 1217658"/>
                  <a:gd name="connsiteY12" fmla="*/ 181879 h 312951"/>
                  <a:gd name="connsiteX13" fmla="*/ 719998 w 1217658"/>
                  <a:gd name="connsiteY13" fmla="*/ 202962 h 312951"/>
                  <a:gd name="connsiteX14" fmla="*/ 539037 w 1217658"/>
                  <a:gd name="connsiteY14" fmla="*/ 120387 h 312951"/>
                  <a:gd name="connsiteX15" fmla="*/ 468761 w 1217658"/>
                  <a:gd name="connsiteY15" fmla="*/ 71194 h 312951"/>
                  <a:gd name="connsiteX16" fmla="*/ 113867 w 1217658"/>
                  <a:gd name="connsiteY16" fmla="*/ 41327 h 312951"/>
                  <a:gd name="connsiteX17" fmla="*/ 4939 w 1217658"/>
                  <a:gd name="connsiteY17" fmla="*/ 113360 h 312951"/>
                  <a:gd name="connsiteX18" fmla="*/ 3182 w 1217658"/>
                  <a:gd name="connsiteY18" fmla="*/ 125658 h 312951"/>
                  <a:gd name="connsiteX19" fmla="*/ 64674 w 1217658"/>
                  <a:gd name="connsiteY19" fmla="*/ 188906 h 312951"/>
                  <a:gd name="connsiteX20" fmla="*/ 75215 w 1217658"/>
                  <a:gd name="connsiteY20" fmla="*/ 190663 h 312951"/>
                  <a:gd name="connsiteX21" fmla="*/ 101569 w 1217658"/>
                  <a:gd name="connsiteY21" fmla="*/ 169580 h 312951"/>
                  <a:gd name="connsiteX22" fmla="*/ 301856 w 1217658"/>
                  <a:gd name="connsiteY22" fmla="*/ 120387 h 312951"/>
                  <a:gd name="connsiteX23" fmla="*/ 430109 w 1217658"/>
                  <a:gd name="connsiteY23" fmla="*/ 174851 h 312951"/>
                  <a:gd name="connsiteX24" fmla="*/ 512684 w 1217658"/>
                  <a:gd name="connsiteY24" fmla="*/ 236343 h 312951"/>
                  <a:gd name="connsiteX25" fmla="*/ 855280 w 1217658"/>
                  <a:gd name="connsiteY25" fmla="*/ 304862 h 31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7658" h="312951">
                    <a:moveTo>
                      <a:pt x="855280" y="304862"/>
                    </a:moveTo>
                    <a:cubicBezTo>
                      <a:pt x="944882" y="287293"/>
                      <a:pt x="1023942" y="246884"/>
                      <a:pt x="1095975" y="190663"/>
                    </a:cubicBezTo>
                    <a:cubicBezTo>
                      <a:pt x="1103003" y="185393"/>
                      <a:pt x="1106516" y="185393"/>
                      <a:pt x="1113544" y="190663"/>
                    </a:cubicBezTo>
                    <a:cubicBezTo>
                      <a:pt x="1134627" y="213503"/>
                      <a:pt x="1157467" y="238100"/>
                      <a:pt x="1182063" y="260939"/>
                    </a:cubicBezTo>
                    <a:cubicBezTo>
                      <a:pt x="1182063" y="257425"/>
                      <a:pt x="1183820" y="257425"/>
                      <a:pt x="1183820" y="255669"/>
                    </a:cubicBezTo>
                    <a:cubicBezTo>
                      <a:pt x="1194362" y="173094"/>
                      <a:pt x="1206660" y="90520"/>
                      <a:pt x="1217201" y="7946"/>
                    </a:cubicBezTo>
                    <a:cubicBezTo>
                      <a:pt x="1218958" y="-839"/>
                      <a:pt x="1215444" y="-839"/>
                      <a:pt x="1210174" y="918"/>
                    </a:cubicBezTo>
                    <a:cubicBezTo>
                      <a:pt x="1148682" y="9703"/>
                      <a:pt x="1088947" y="18487"/>
                      <a:pt x="1027456" y="27272"/>
                    </a:cubicBezTo>
                    <a:cubicBezTo>
                      <a:pt x="1008130" y="30785"/>
                      <a:pt x="987047" y="32542"/>
                      <a:pt x="964207" y="37813"/>
                    </a:cubicBezTo>
                    <a:cubicBezTo>
                      <a:pt x="967721" y="41327"/>
                      <a:pt x="969478" y="43084"/>
                      <a:pt x="971235" y="46597"/>
                    </a:cubicBezTo>
                    <a:cubicBezTo>
                      <a:pt x="988804" y="65923"/>
                      <a:pt x="1008130" y="83492"/>
                      <a:pt x="1025699" y="102818"/>
                    </a:cubicBezTo>
                    <a:cubicBezTo>
                      <a:pt x="1030970" y="108089"/>
                      <a:pt x="1029213" y="111603"/>
                      <a:pt x="1023942" y="115117"/>
                    </a:cubicBezTo>
                    <a:cubicBezTo>
                      <a:pt x="987047" y="143227"/>
                      <a:pt x="946638" y="164310"/>
                      <a:pt x="906230" y="181879"/>
                    </a:cubicBezTo>
                    <a:cubicBezTo>
                      <a:pt x="844738" y="204718"/>
                      <a:pt x="783247" y="213503"/>
                      <a:pt x="719998" y="202962"/>
                    </a:cubicBezTo>
                    <a:cubicBezTo>
                      <a:pt x="651479" y="192420"/>
                      <a:pt x="591744" y="164310"/>
                      <a:pt x="539037" y="120387"/>
                    </a:cubicBezTo>
                    <a:cubicBezTo>
                      <a:pt x="516198" y="102818"/>
                      <a:pt x="493358" y="85249"/>
                      <a:pt x="468761" y="71194"/>
                    </a:cubicBezTo>
                    <a:cubicBezTo>
                      <a:pt x="354563" y="2675"/>
                      <a:pt x="238607" y="-11380"/>
                      <a:pt x="113867" y="41327"/>
                    </a:cubicBezTo>
                    <a:cubicBezTo>
                      <a:pt x="73459" y="58896"/>
                      <a:pt x="36564" y="81735"/>
                      <a:pt x="4939" y="113360"/>
                    </a:cubicBezTo>
                    <a:cubicBezTo>
                      <a:pt x="-331" y="116873"/>
                      <a:pt x="-2088" y="120387"/>
                      <a:pt x="3182" y="125658"/>
                    </a:cubicBezTo>
                    <a:cubicBezTo>
                      <a:pt x="24265" y="146741"/>
                      <a:pt x="43591" y="167824"/>
                      <a:pt x="64674" y="188906"/>
                    </a:cubicBezTo>
                    <a:cubicBezTo>
                      <a:pt x="68188" y="192420"/>
                      <a:pt x="69945" y="194177"/>
                      <a:pt x="75215" y="190663"/>
                    </a:cubicBezTo>
                    <a:cubicBezTo>
                      <a:pt x="82243" y="183636"/>
                      <a:pt x="92784" y="176608"/>
                      <a:pt x="101569" y="169580"/>
                    </a:cubicBezTo>
                    <a:cubicBezTo>
                      <a:pt x="163060" y="127415"/>
                      <a:pt x="229823" y="109846"/>
                      <a:pt x="301856" y="120387"/>
                    </a:cubicBezTo>
                    <a:cubicBezTo>
                      <a:pt x="349292" y="127415"/>
                      <a:pt x="391458" y="148498"/>
                      <a:pt x="430109" y="174851"/>
                    </a:cubicBezTo>
                    <a:cubicBezTo>
                      <a:pt x="458220" y="194177"/>
                      <a:pt x="484573" y="217017"/>
                      <a:pt x="512684" y="236343"/>
                    </a:cubicBezTo>
                    <a:cubicBezTo>
                      <a:pt x="616341" y="301348"/>
                      <a:pt x="732297" y="327701"/>
                      <a:pt x="855280" y="304862"/>
                    </a:cubicBezTo>
                    <a:close/>
                  </a:path>
                </a:pathLst>
              </a:custGeom>
              <a:solidFill>
                <a:srgbClr val="000000"/>
              </a:solidFill>
              <a:ln w="17526" cap="flat">
                <a:noFill/>
                <a:prstDash val="solid"/>
                <a:miter/>
              </a:ln>
            </p:spPr>
            <p:txBody>
              <a:bodyPr rtlCol="0" anchor="ctr"/>
              <a:lstStyle/>
              <a:p>
                <a:pPr marL="0" marR="0" lvl="0" indent="0" defTabSz="349261" eaLnBrk="1" fontAlgn="auto" latinLnBrk="0" hangingPunct="1">
                  <a:lnSpc>
                    <a:spcPct val="100000"/>
                  </a:lnSpc>
                  <a:spcBef>
                    <a:spcPts val="0"/>
                  </a:spcBef>
                  <a:spcAft>
                    <a:spcPts val="0"/>
                  </a:spcAft>
                  <a:buClrTx/>
                  <a:buSzTx/>
                  <a:buFontTx/>
                  <a:buNone/>
                  <a:tabLst/>
                  <a:defRPr/>
                </a:pPr>
                <a:endParaRPr kumimoji="0" lang="ru-RU" sz="700" b="0" i="0" u="none" strike="noStrike" kern="0" cap="none" spc="0" normalizeH="0" baseline="0" noProof="0">
                  <a:ln>
                    <a:noFill/>
                  </a:ln>
                  <a:solidFill>
                    <a:srgbClr val="000000"/>
                  </a:solidFill>
                  <a:effectLst/>
                  <a:uLnTx/>
                  <a:uFillTx/>
                </a:endParaRPr>
              </a:p>
            </p:txBody>
          </p:sp>
        </p:grpSp>
        <p:sp>
          <p:nvSpPr>
            <p:cNvPr id="20" name="Freeform: Shape 12">
              <a:extLst>
                <a:ext uri="{FF2B5EF4-FFF2-40B4-BE49-F238E27FC236}">
                  <a16:creationId xmlns:a16="http://schemas.microsoft.com/office/drawing/2014/main" xmlns="" id="{589BBADE-A157-42E3-94CA-72D4CFD6B289}"/>
                </a:ext>
              </a:extLst>
            </p:cNvPr>
            <p:cNvSpPr/>
            <p:nvPr/>
          </p:nvSpPr>
          <p:spPr>
            <a:xfrm>
              <a:off x="6925815" y="1948050"/>
              <a:ext cx="1361598" cy="1256183"/>
            </a:xfrm>
            <a:custGeom>
              <a:avLst/>
              <a:gdLst>
                <a:gd name="connsiteX0" fmla="*/ 1361599 w 1361598"/>
                <a:gd name="connsiteY0" fmla="*/ 52707 h 1256183"/>
                <a:gd name="connsiteX1" fmla="*/ 1308892 w 1361598"/>
                <a:gd name="connsiteY1" fmla="*/ 0 h 1256183"/>
                <a:gd name="connsiteX2" fmla="*/ 541126 w 1361598"/>
                <a:gd name="connsiteY2" fmla="*/ 0 h 1256183"/>
                <a:gd name="connsiteX3" fmla="*/ 50950 w 1361598"/>
                <a:gd name="connsiteY3" fmla="*/ 0 h 1256183"/>
                <a:gd name="connsiteX4" fmla="*/ 1757 w 1361598"/>
                <a:gd name="connsiteY4" fmla="*/ 49193 h 1256183"/>
                <a:gd name="connsiteX5" fmla="*/ 1757 w 1361598"/>
                <a:gd name="connsiteY5" fmla="*/ 451523 h 1256183"/>
                <a:gd name="connsiteX6" fmla="*/ 28110 w 1361598"/>
                <a:gd name="connsiteY6" fmla="*/ 477877 h 1256183"/>
                <a:gd name="connsiteX7" fmla="*/ 54464 w 1361598"/>
                <a:gd name="connsiteY7" fmla="*/ 477877 h 1256183"/>
                <a:gd name="connsiteX8" fmla="*/ 80817 w 1361598"/>
                <a:gd name="connsiteY8" fmla="*/ 451523 h 1256183"/>
                <a:gd name="connsiteX9" fmla="*/ 80817 w 1361598"/>
                <a:gd name="connsiteY9" fmla="*/ 84331 h 1256183"/>
                <a:gd name="connsiteX10" fmla="*/ 79061 w 1361598"/>
                <a:gd name="connsiteY10" fmla="*/ 79061 h 1256183"/>
                <a:gd name="connsiteX11" fmla="*/ 87845 w 1361598"/>
                <a:gd name="connsiteY11" fmla="*/ 77304 h 1256183"/>
                <a:gd name="connsiteX12" fmla="*/ 87845 w 1361598"/>
                <a:gd name="connsiteY12" fmla="*/ 77304 h 1256183"/>
                <a:gd name="connsiteX13" fmla="*/ 569236 w 1361598"/>
                <a:gd name="connsiteY13" fmla="*/ 77304 h 1256183"/>
                <a:gd name="connsiteX14" fmla="*/ 1273754 w 1361598"/>
                <a:gd name="connsiteY14" fmla="*/ 77304 h 1256183"/>
                <a:gd name="connsiteX15" fmla="*/ 1284295 w 1361598"/>
                <a:gd name="connsiteY15" fmla="*/ 77304 h 1256183"/>
                <a:gd name="connsiteX16" fmla="*/ 1284295 w 1361598"/>
                <a:gd name="connsiteY16" fmla="*/ 86088 h 1256183"/>
                <a:gd name="connsiteX17" fmla="*/ 1284295 w 1361598"/>
                <a:gd name="connsiteY17" fmla="*/ 746683 h 1256183"/>
                <a:gd name="connsiteX18" fmla="*/ 1284295 w 1361598"/>
                <a:gd name="connsiteY18" fmla="*/ 755467 h 1256183"/>
                <a:gd name="connsiteX19" fmla="*/ 1275511 w 1361598"/>
                <a:gd name="connsiteY19" fmla="*/ 755467 h 1256183"/>
                <a:gd name="connsiteX20" fmla="*/ 1082251 w 1361598"/>
                <a:gd name="connsiteY20" fmla="*/ 755467 h 1256183"/>
                <a:gd name="connsiteX21" fmla="*/ 87845 w 1361598"/>
                <a:gd name="connsiteY21" fmla="*/ 755467 h 1256183"/>
                <a:gd name="connsiteX22" fmla="*/ 87845 w 1361598"/>
                <a:gd name="connsiteY22" fmla="*/ 755467 h 1256183"/>
                <a:gd name="connsiteX23" fmla="*/ 79061 w 1361598"/>
                <a:gd name="connsiteY23" fmla="*/ 753710 h 1256183"/>
                <a:gd name="connsiteX24" fmla="*/ 79061 w 1361598"/>
                <a:gd name="connsiteY24" fmla="*/ 743169 h 1256183"/>
                <a:gd name="connsiteX25" fmla="*/ 52707 w 1361598"/>
                <a:gd name="connsiteY25" fmla="*/ 716815 h 1256183"/>
                <a:gd name="connsiteX26" fmla="*/ 26354 w 1361598"/>
                <a:gd name="connsiteY26" fmla="*/ 720329 h 1256183"/>
                <a:gd name="connsiteX27" fmla="*/ 0 w 1361598"/>
                <a:gd name="connsiteY27" fmla="*/ 746683 h 1256183"/>
                <a:gd name="connsiteX28" fmla="*/ 0 w 1361598"/>
                <a:gd name="connsiteY28" fmla="*/ 955754 h 1256183"/>
                <a:gd name="connsiteX29" fmla="*/ 50950 w 1361598"/>
                <a:gd name="connsiteY29" fmla="*/ 1004947 h 1256183"/>
                <a:gd name="connsiteX30" fmla="*/ 168663 w 1361598"/>
                <a:gd name="connsiteY30" fmla="*/ 1004947 h 1256183"/>
                <a:gd name="connsiteX31" fmla="*/ 216099 w 1361598"/>
                <a:gd name="connsiteY31" fmla="*/ 1004947 h 1256183"/>
                <a:gd name="connsiteX32" fmla="*/ 265292 w 1361598"/>
                <a:gd name="connsiteY32" fmla="*/ 1004947 h 1256183"/>
                <a:gd name="connsiteX33" fmla="*/ 414629 w 1361598"/>
                <a:gd name="connsiteY33" fmla="*/ 1004947 h 1256183"/>
                <a:gd name="connsiteX34" fmla="*/ 414629 w 1361598"/>
                <a:gd name="connsiteY34" fmla="*/ 1004947 h 1256183"/>
                <a:gd name="connsiteX35" fmla="*/ 390032 w 1361598"/>
                <a:gd name="connsiteY35" fmla="*/ 1059411 h 1256183"/>
                <a:gd name="connsiteX36" fmla="*/ 383005 w 1361598"/>
                <a:gd name="connsiteY36" fmla="*/ 1064681 h 1256183"/>
                <a:gd name="connsiteX37" fmla="*/ 310971 w 1361598"/>
                <a:gd name="connsiteY37" fmla="*/ 1064681 h 1256183"/>
                <a:gd name="connsiteX38" fmla="*/ 270563 w 1361598"/>
                <a:gd name="connsiteY38" fmla="*/ 1105090 h 1256183"/>
                <a:gd name="connsiteX39" fmla="*/ 270563 w 1361598"/>
                <a:gd name="connsiteY39" fmla="*/ 1163068 h 1256183"/>
                <a:gd name="connsiteX40" fmla="*/ 270563 w 1361598"/>
                <a:gd name="connsiteY40" fmla="*/ 1184151 h 1256183"/>
                <a:gd name="connsiteX41" fmla="*/ 321513 w 1361598"/>
                <a:gd name="connsiteY41" fmla="*/ 1256184 h 1256183"/>
                <a:gd name="connsiteX42" fmla="*/ 809932 w 1361598"/>
                <a:gd name="connsiteY42" fmla="*/ 1256184 h 1256183"/>
                <a:gd name="connsiteX43" fmla="*/ 892506 w 1361598"/>
                <a:gd name="connsiteY43" fmla="*/ 1256184 h 1256183"/>
                <a:gd name="connsiteX44" fmla="*/ 1045356 w 1361598"/>
                <a:gd name="connsiteY44" fmla="*/ 1256184 h 1256183"/>
                <a:gd name="connsiteX45" fmla="*/ 1091036 w 1361598"/>
                <a:gd name="connsiteY45" fmla="*/ 1171852 h 1256183"/>
                <a:gd name="connsiteX46" fmla="*/ 1087522 w 1361598"/>
                <a:gd name="connsiteY46" fmla="*/ 1087521 h 1256183"/>
                <a:gd name="connsiteX47" fmla="*/ 1040086 w 1361598"/>
                <a:gd name="connsiteY47" fmla="*/ 1066438 h 1256183"/>
                <a:gd name="connsiteX48" fmla="*/ 978594 w 1361598"/>
                <a:gd name="connsiteY48" fmla="*/ 1066438 h 1256183"/>
                <a:gd name="connsiteX49" fmla="*/ 969810 w 1361598"/>
                <a:gd name="connsiteY49" fmla="*/ 1061168 h 1256183"/>
                <a:gd name="connsiteX50" fmla="*/ 955754 w 1361598"/>
                <a:gd name="connsiteY50" fmla="*/ 1029543 h 1256183"/>
                <a:gd name="connsiteX51" fmla="*/ 946970 w 1361598"/>
                <a:gd name="connsiteY51" fmla="*/ 1011974 h 1256183"/>
                <a:gd name="connsiteX52" fmla="*/ 945213 w 1361598"/>
                <a:gd name="connsiteY52" fmla="*/ 1008461 h 1256183"/>
                <a:gd name="connsiteX53" fmla="*/ 948727 w 1361598"/>
                <a:gd name="connsiteY53" fmla="*/ 1008461 h 1256183"/>
                <a:gd name="connsiteX54" fmla="*/ 1307135 w 1361598"/>
                <a:gd name="connsiteY54" fmla="*/ 1008461 h 1256183"/>
                <a:gd name="connsiteX55" fmla="*/ 1359842 w 1361598"/>
                <a:gd name="connsiteY55" fmla="*/ 955754 h 1256183"/>
                <a:gd name="connsiteX56" fmla="*/ 1359842 w 1361598"/>
                <a:gd name="connsiteY56" fmla="*/ 52707 h 1256183"/>
                <a:gd name="connsiteX57" fmla="*/ 1004948 w 1361598"/>
                <a:gd name="connsiteY57" fmla="*/ 1112118 h 1256183"/>
                <a:gd name="connsiteX58" fmla="*/ 1013732 w 1361598"/>
                <a:gd name="connsiteY58" fmla="*/ 1117388 h 1256183"/>
                <a:gd name="connsiteX59" fmla="*/ 1013732 w 1361598"/>
                <a:gd name="connsiteY59" fmla="*/ 1150770 h 1256183"/>
                <a:gd name="connsiteX60" fmla="*/ 1011975 w 1361598"/>
                <a:gd name="connsiteY60" fmla="*/ 1189421 h 1256183"/>
                <a:gd name="connsiteX61" fmla="*/ 1004948 w 1361598"/>
                <a:gd name="connsiteY61" fmla="*/ 1194692 h 1256183"/>
                <a:gd name="connsiteX62" fmla="*/ 829257 w 1361598"/>
                <a:gd name="connsiteY62" fmla="*/ 1192935 h 1256183"/>
                <a:gd name="connsiteX63" fmla="*/ 753711 w 1361598"/>
                <a:gd name="connsiteY63" fmla="*/ 1192935 h 1256183"/>
                <a:gd name="connsiteX64" fmla="*/ 678164 w 1361598"/>
                <a:gd name="connsiteY64" fmla="*/ 1192935 h 1256183"/>
                <a:gd name="connsiteX65" fmla="*/ 354894 w 1361598"/>
                <a:gd name="connsiteY65" fmla="*/ 1192935 h 1256183"/>
                <a:gd name="connsiteX66" fmla="*/ 346110 w 1361598"/>
                <a:gd name="connsiteY66" fmla="*/ 1170095 h 1256183"/>
                <a:gd name="connsiteX67" fmla="*/ 346110 w 1361598"/>
                <a:gd name="connsiteY67" fmla="*/ 1115632 h 1256183"/>
                <a:gd name="connsiteX68" fmla="*/ 356651 w 1361598"/>
                <a:gd name="connsiteY68" fmla="*/ 1113875 h 1256183"/>
                <a:gd name="connsiteX69" fmla="*/ 502474 w 1361598"/>
                <a:gd name="connsiteY69" fmla="*/ 1113875 h 1256183"/>
                <a:gd name="connsiteX70" fmla="*/ 1004948 w 1361598"/>
                <a:gd name="connsiteY70" fmla="*/ 1112118 h 1256183"/>
                <a:gd name="connsiteX71" fmla="*/ 476120 w 1361598"/>
                <a:gd name="connsiteY71" fmla="*/ 1062925 h 1256183"/>
                <a:gd name="connsiteX72" fmla="*/ 476120 w 1361598"/>
                <a:gd name="connsiteY72" fmla="*/ 1062925 h 1256183"/>
                <a:gd name="connsiteX73" fmla="*/ 500717 w 1361598"/>
                <a:gd name="connsiteY73" fmla="*/ 1010218 h 1256183"/>
                <a:gd name="connsiteX74" fmla="*/ 509501 w 1361598"/>
                <a:gd name="connsiteY74" fmla="*/ 1004947 h 1256183"/>
                <a:gd name="connsiteX75" fmla="*/ 509501 w 1361598"/>
                <a:gd name="connsiteY75" fmla="*/ 1004947 h 1256183"/>
                <a:gd name="connsiteX76" fmla="*/ 855611 w 1361598"/>
                <a:gd name="connsiteY76" fmla="*/ 1004947 h 1256183"/>
                <a:gd name="connsiteX77" fmla="*/ 855611 w 1361598"/>
                <a:gd name="connsiteY77" fmla="*/ 1004947 h 1256183"/>
                <a:gd name="connsiteX78" fmla="*/ 864395 w 1361598"/>
                <a:gd name="connsiteY78" fmla="*/ 1011974 h 1256183"/>
                <a:gd name="connsiteX79" fmla="*/ 887235 w 1361598"/>
                <a:gd name="connsiteY79" fmla="*/ 1064681 h 1256183"/>
                <a:gd name="connsiteX80" fmla="*/ 887235 w 1361598"/>
                <a:gd name="connsiteY80" fmla="*/ 1064681 h 1256183"/>
                <a:gd name="connsiteX81" fmla="*/ 885478 w 1361598"/>
                <a:gd name="connsiteY81" fmla="*/ 1064681 h 1256183"/>
                <a:gd name="connsiteX82" fmla="*/ 730871 w 1361598"/>
                <a:gd name="connsiteY82" fmla="*/ 1064681 h 1256183"/>
                <a:gd name="connsiteX83" fmla="*/ 679921 w 1361598"/>
                <a:gd name="connsiteY83" fmla="*/ 1064681 h 1256183"/>
                <a:gd name="connsiteX84" fmla="*/ 627214 w 1361598"/>
                <a:gd name="connsiteY84" fmla="*/ 1064681 h 1256183"/>
                <a:gd name="connsiteX85" fmla="*/ 476120 w 1361598"/>
                <a:gd name="connsiteY85" fmla="*/ 1062925 h 1256183"/>
                <a:gd name="connsiteX86" fmla="*/ 476120 w 1361598"/>
                <a:gd name="connsiteY86" fmla="*/ 1062925 h 1256183"/>
                <a:gd name="connsiteX87" fmla="*/ 1284295 w 1361598"/>
                <a:gd name="connsiteY87" fmla="*/ 925886 h 1256183"/>
                <a:gd name="connsiteX88" fmla="*/ 1282538 w 1361598"/>
                <a:gd name="connsiteY88" fmla="*/ 925886 h 1256183"/>
                <a:gd name="connsiteX89" fmla="*/ 1279024 w 1361598"/>
                <a:gd name="connsiteY89" fmla="*/ 925886 h 1256183"/>
                <a:gd name="connsiteX90" fmla="*/ 1275511 w 1361598"/>
                <a:gd name="connsiteY90" fmla="*/ 925886 h 1256183"/>
                <a:gd name="connsiteX91" fmla="*/ 1271997 w 1361598"/>
                <a:gd name="connsiteY91" fmla="*/ 925886 h 1256183"/>
                <a:gd name="connsiteX92" fmla="*/ 91359 w 1361598"/>
                <a:gd name="connsiteY92" fmla="*/ 925886 h 1256183"/>
                <a:gd name="connsiteX93" fmla="*/ 79061 w 1361598"/>
                <a:gd name="connsiteY93" fmla="*/ 925886 h 1256183"/>
                <a:gd name="connsiteX94" fmla="*/ 79061 w 1361598"/>
                <a:gd name="connsiteY94" fmla="*/ 913588 h 1256183"/>
                <a:gd name="connsiteX95" fmla="*/ 79061 w 1361598"/>
                <a:gd name="connsiteY95" fmla="*/ 903047 h 1256183"/>
                <a:gd name="connsiteX96" fmla="*/ 79061 w 1361598"/>
                <a:gd name="connsiteY96" fmla="*/ 843312 h 1256183"/>
                <a:gd name="connsiteX97" fmla="*/ 79061 w 1361598"/>
                <a:gd name="connsiteY97" fmla="*/ 834528 h 1256183"/>
                <a:gd name="connsiteX98" fmla="*/ 87845 w 1361598"/>
                <a:gd name="connsiteY98" fmla="*/ 834528 h 1256183"/>
                <a:gd name="connsiteX99" fmla="*/ 279347 w 1361598"/>
                <a:gd name="connsiteY99" fmla="*/ 834528 h 1256183"/>
                <a:gd name="connsiteX100" fmla="*/ 1273754 w 1361598"/>
                <a:gd name="connsiteY100" fmla="*/ 834528 h 1256183"/>
                <a:gd name="connsiteX101" fmla="*/ 1284295 w 1361598"/>
                <a:gd name="connsiteY101" fmla="*/ 834528 h 1256183"/>
                <a:gd name="connsiteX102" fmla="*/ 1284295 w 1361598"/>
                <a:gd name="connsiteY102" fmla="*/ 845069 h 1256183"/>
                <a:gd name="connsiteX103" fmla="*/ 1284295 w 1361598"/>
                <a:gd name="connsiteY103" fmla="*/ 867909 h 1256183"/>
                <a:gd name="connsiteX104" fmla="*/ 1284295 w 1361598"/>
                <a:gd name="connsiteY104" fmla="*/ 922373 h 1256183"/>
                <a:gd name="connsiteX105" fmla="*/ 1284295 w 1361598"/>
                <a:gd name="connsiteY105" fmla="*/ 925886 h 125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361598" h="1256183">
                  <a:moveTo>
                    <a:pt x="1361599" y="52707"/>
                  </a:moveTo>
                  <a:cubicBezTo>
                    <a:pt x="1361599" y="14055"/>
                    <a:pt x="1347543" y="0"/>
                    <a:pt x="1308892" y="0"/>
                  </a:cubicBezTo>
                  <a:lnTo>
                    <a:pt x="541126" y="0"/>
                  </a:lnTo>
                  <a:cubicBezTo>
                    <a:pt x="377734" y="0"/>
                    <a:pt x="214342" y="0"/>
                    <a:pt x="50950" y="0"/>
                  </a:cubicBezTo>
                  <a:cubicBezTo>
                    <a:pt x="22840" y="0"/>
                    <a:pt x="1757" y="22840"/>
                    <a:pt x="1757" y="49193"/>
                  </a:cubicBezTo>
                  <a:cubicBezTo>
                    <a:pt x="1757" y="182718"/>
                    <a:pt x="1757" y="317999"/>
                    <a:pt x="1757" y="451523"/>
                  </a:cubicBezTo>
                  <a:cubicBezTo>
                    <a:pt x="1757" y="465579"/>
                    <a:pt x="14055" y="477877"/>
                    <a:pt x="28110" y="477877"/>
                  </a:cubicBezTo>
                  <a:lnTo>
                    <a:pt x="54464" y="477877"/>
                  </a:lnTo>
                  <a:cubicBezTo>
                    <a:pt x="68519" y="477877"/>
                    <a:pt x="80817" y="465579"/>
                    <a:pt x="80817" y="451523"/>
                  </a:cubicBezTo>
                  <a:cubicBezTo>
                    <a:pt x="80817" y="328540"/>
                    <a:pt x="80817" y="205557"/>
                    <a:pt x="80817" y="84331"/>
                  </a:cubicBezTo>
                  <a:cubicBezTo>
                    <a:pt x="79061" y="80817"/>
                    <a:pt x="79061" y="79061"/>
                    <a:pt x="79061" y="79061"/>
                  </a:cubicBezTo>
                  <a:cubicBezTo>
                    <a:pt x="79061" y="79061"/>
                    <a:pt x="80817" y="77304"/>
                    <a:pt x="87845" y="77304"/>
                  </a:cubicBezTo>
                  <a:cubicBezTo>
                    <a:pt x="87845" y="77304"/>
                    <a:pt x="87845" y="77304"/>
                    <a:pt x="87845" y="77304"/>
                  </a:cubicBezTo>
                  <a:cubicBezTo>
                    <a:pt x="247723" y="77304"/>
                    <a:pt x="411115" y="77304"/>
                    <a:pt x="569236" y="77304"/>
                  </a:cubicBezTo>
                  <a:lnTo>
                    <a:pt x="1273754" y="77304"/>
                  </a:lnTo>
                  <a:cubicBezTo>
                    <a:pt x="1277267" y="77304"/>
                    <a:pt x="1280781" y="77304"/>
                    <a:pt x="1284295" y="77304"/>
                  </a:cubicBezTo>
                  <a:cubicBezTo>
                    <a:pt x="1284295" y="79061"/>
                    <a:pt x="1284295" y="82574"/>
                    <a:pt x="1284295" y="86088"/>
                  </a:cubicBezTo>
                  <a:lnTo>
                    <a:pt x="1284295" y="746683"/>
                  </a:lnTo>
                  <a:cubicBezTo>
                    <a:pt x="1284295" y="750196"/>
                    <a:pt x="1284295" y="753710"/>
                    <a:pt x="1284295" y="755467"/>
                  </a:cubicBezTo>
                  <a:cubicBezTo>
                    <a:pt x="1282538" y="755467"/>
                    <a:pt x="1279024" y="755467"/>
                    <a:pt x="1275511" y="755467"/>
                  </a:cubicBezTo>
                  <a:lnTo>
                    <a:pt x="1082251" y="755467"/>
                  </a:lnTo>
                  <a:cubicBezTo>
                    <a:pt x="757224" y="755467"/>
                    <a:pt x="419899" y="755467"/>
                    <a:pt x="87845" y="755467"/>
                  </a:cubicBezTo>
                  <a:cubicBezTo>
                    <a:pt x="87845" y="755467"/>
                    <a:pt x="87845" y="755467"/>
                    <a:pt x="87845" y="755467"/>
                  </a:cubicBezTo>
                  <a:cubicBezTo>
                    <a:pt x="80817" y="755467"/>
                    <a:pt x="79061" y="753710"/>
                    <a:pt x="79061" y="753710"/>
                  </a:cubicBezTo>
                  <a:cubicBezTo>
                    <a:pt x="79061" y="753710"/>
                    <a:pt x="79061" y="748439"/>
                    <a:pt x="79061" y="743169"/>
                  </a:cubicBezTo>
                  <a:cubicBezTo>
                    <a:pt x="79061" y="729114"/>
                    <a:pt x="66762" y="716815"/>
                    <a:pt x="52707" y="716815"/>
                  </a:cubicBezTo>
                  <a:lnTo>
                    <a:pt x="26354" y="720329"/>
                  </a:lnTo>
                  <a:cubicBezTo>
                    <a:pt x="12298" y="720329"/>
                    <a:pt x="0" y="732627"/>
                    <a:pt x="0" y="746683"/>
                  </a:cubicBezTo>
                  <a:cubicBezTo>
                    <a:pt x="0" y="816959"/>
                    <a:pt x="0" y="885478"/>
                    <a:pt x="0" y="955754"/>
                  </a:cubicBezTo>
                  <a:cubicBezTo>
                    <a:pt x="0" y="990892"/>
                    <a:pt x="15812" y="1004947"/>
                    <a:pt x="50950" y="1004947"/>
                  </a:cubicBezTo>
                  <a:cubicBezTo>
                    <a:pt x="89602" y="1004947"/>
                    <a:pt x="130011" y="1004947"/>
                    <a:pt x="168663" y="1004947"/>
                  </a:cubicBezTo>
                  <a:lnTo>
                    <a:pt x="216099" y="1004947"/>
                  </a:lnTo>
                  <a:lnTo>
                    <a:pt x="265292" y="1004947"/>
                  </a:lnTo>
                  <a:cubicBezTo>
                    <a:pt x="314485" y="1004947"/>
                    <a:pt x="365436" y="1004947"/>
                    <a:pt x="414629" y="1004947"/>
                  </a:cubicBezTo>
                  <a:cubicBezTo>
                    <a:pt x="414629" y="1004947"/>
                    <a:pt x="414629" y="1004947"/>
                    <a:pt x="414629" y="1004947"/>
                  </a:cubicBezTo>
                  <a:cubicBezTo>
                    <a:pt x="407601" y="1020759"/>
                    <a:pt x="398817" y="1036571"/>
                    <a:pt x="390032" y="1059411"/>
                  </a:cubicBezTo>
                  <a:cubicBezTo>
                    <a:pt x="388275" y="1062925"/>
                    <a:pt x="388275" y="1064681"/>
                    <a:pt x="383005" y="1064681"/>
                  </a:cubicBezTo>
                  <a:cubicBezTo>
                    <a:pt x="361922" y="1064681"/>
                    <a:pt x="339082" y="1064681"/>
                    <a:pt x="310971" y="1064681"/>
                  </a:cubicBezTo>
                  <a:cubicBezTo>
                    <a:pt x="288132" y="1064681"/>
                    <a:pt x="270563" y="1084007"/>
                    <a:pt x="270563" y="1105090"/>
                  </a:cubicBezTo>
                  <a:cubicBezTo>
                    <a:pt x="270563" y="1124416"/>
                    <a:pt x="270563" y="1143742"/>
                    <a:pt x="270563" y="1163068"/>
                  </a:cubicBezTo>
                  <a:lnTo>
                    <a:pt x="270563" y="1184151"/>
                  </a:lnTo>
                  <a:cubicBezTo>
                    <a:pt x="270563" y="1212261"/>
                    <a:pt x="293402" y="1256184"/>
                    <a:pt x="321513" y="1256184"/>
                  </a:cubicBezTo>
                  <a:lnTo>
                    <a:pt x="809932" y="1256184"/>
                  </a:lnTo>
                  <a:cubicBezTo>
                    <a:pt x="838042" y="1256184"/>
                    <a:pt x="864395" y="1256184"/>
                    <a:pt x="892506" y="1256184"/>
                  </a:cubicBezTo>
                  <a:cubicBezTo>
                    <a:pt x="943456" y="1256184"/>
                    <a:pt x="994406" y="1256184"/>
                    <a:pt x="1045356" y="1256184"/>
                  </a:cubicBezTo>
                  <a:cubicBezTo>
                    <a:pt x="1082251" y="1256184"/>
                    <a:pt x="1091036" y="1215775"/>
                    <a:pt x="1091036" y="1171852"/>
                  </a:cubicBezTo>
                  <a:cubicBezTo>
                    <a:pt x="1091036" y="1156040"/>
                    <a:pt x="1096306" y="1136714"/>
                    <a:pt x="1087522" y="1087521"/>
                  </a:cubicBezTo>
                  <a:cubicBezTo>
                    <a:pt x="1082251" y="1061168"/>
                    <a:pt x="1040086" y="1066438"/>
                    <a:pt x="1040086" y="1066438"/>
                  </a:cubicBezTo>
                  <a:cubicBezTo>
                    <a:pt x="1020760" y="1066438"/>
                    <a:pt x="999677" y="1066438"/>
                    <a:pt x="978594" y="1066438"/>
                  </a:cubicBezTo>
                  <a:cubicBezTo>
                    <a:pt x="975080" y="1066438"/>
                    <a:pt x="971567" y="1064681"/>
                    <a:pt x="969810" y="1061168"/>
                  </a:cubicBezTo>
                  <a:cubicBezTo>
                    <a:pt x="964539" y="1050626"/>
                    <a:pt x="961025" y="1040085"/>
                    <a:pt x="955754" y="1029543"/>
                  </a:cubicBezTo>
                  <a:cubicBezTo>
                    <a:pt x="952241" y="1024273"/>
                    <a:pt x="950484" y="1017245"/>
                    <a:pt x="946970" y="1011974"/>
                  </a:cubicBezTo>
                  <a:cubicBezTo>
                    <a:pt x="946970" y="1010218"/>
                    <a:pt x="946970" y="1010218"/>
                    <a:pt x="945213" y="1008461"/>
                  </a:cubicBezTo>
                  <a:cubicBezTo>
                    <a:pt x="946970" y="1008461"/>
                    <a:pt x="946970" y="1008461"/>
                    <a:pt x="948727" y="1008461"/>
                  </a:cubicBezTo>
                  <a:lnTo>
                    <a:pt x="1307135" y="1008461"/>
                  </a:lnTo>
                  <a:cubicBezTo>
                    <a:pt x="1337002" y="1008461"/>
                    <a:pt x="1359842" y="983864"/>
                    <a:pt x="1359842" y="955754"/>
                  </a:cubicBezTo>
                  <a:lnTo>
                    <a:pt x="1359842" y="52707"/>
                  </a:lnTo>
                  <a:close/>
                  <a:moveTo>
                    <a:pt x="1004948" y="1112118"/>
                  </a:moveTo>
                  <a:cubicBezTo>
                    <a:pt x="1006705" y="1112118"/>
                    <a:pt x="1013732" y="1112118"/>
                    <a:pt x="1013732" y="1117388"/>
                  </a:cubicBezTo>
                  <a:cubicBezTo>
                    <a:pt x="1013732" y="1117388"/>
                    <a:pt x="1013732" y="1124416"/>
                    <a:pt x="1013732" y="1150770"/>
                  </a:cubicBezTo>
                  <a:cubicBezTo>
                    <a:pt x="1013732" y="1182394"/>
                    <a:pt x="1011975" y="1189421"/>
                    <a:pt x="1011975" y="1189421"/>
                  </a:cubicBezTo>
                  <a:cubicBezTo>
                    <a:pt x="1011975" y="1189421"/>
                    <a:pt x="1010218" y="1194692"/>
                    <a:pt x="1004948" y="1194692"/>
                  </a:cubicBezTo>
                  <a:cubicBezTo>
                    <a:pt x="946970" y="1192935"/>
                    <a:pt x="887235" y="1192935"/>
                    <a:pt x="829257" y="1192935"/>
                  </a:cubicBezTo>
                  <a:cubicBezTo>
                    <a:pt x="804661" y="1192935"/>
                    <a:pt x="778307" y="1192935"/>
                    <a:pt x="753711" y="1192935"/>
                  </a:cubicBezTo>
                  <a:lnTo>
                    <a:pt x="678164" y="1192935"/>
                  </a:lnTo>
                  <a:lnTo>
                    <a:pt x="354894" y="1192935"/>
                  </a:lnTo>
                  <a:cubicBezTo>
                    <a:pt x="351380" y="1192935"/>
                    <a:pt x="347867" y="1184151"/>
                    <a:pt x="346110" y="1170095"/>
                  </a:cubicBezTo>
                  <a:cubicBezTo>
                    <a:pt x="344353" y="1156040"/>
                    <a:pt x="344353" y="1136714"/>
                    <a:pt x="346110" y="1115632"/>
                  </a:cubicBezTo>
                  <a:cubicBezTo>
                    <a:pt x="349623" y="1113875"/>
                    <a:pt x="353137" y="1113875"/>
                    <a:pt x="356651" y="1113875"/>
                  </a:cubicBezTo>
                  <a:lnTo>
                    <a:pt x="502474" y="1113875"/>
                  </a:lnTo>
                  <a:cubicBezTo>
                    <a:pt x="671136" y="1113875"/>
                    <a:pt x="838042" y="1113875"/>
                    <a:pt x="1004948" y="1112118"/>
                  </a:cubicBezTo>
                  <a:close/>
                  <a:moveTo>
                    <a:pt x="476120" y="1062925"/>
                  </a:moveTo>
                  <a:cubicBezTo>
                    <a:pt x="476120" y="1062925"/>
                    <a:pt x="476120" y="1062925"/>
                    <a:pt x="476120" y="1062925"/>
                  </a:cubicBezTo>
                  <a:cubicBezTo>
                    <a:pt x="484905" y="1045356"/>
                    <a:pt x="491932" y="1027787"/>
                    <a:pt x="500717" y="1010218"/>
                  </a:cubicBezTo>
                  <a:cubicBezTo>
                    <a:pt x="502474" y="1006704"/>
                    <a:pt x="504231" y="1004947"/>
                    <a:pt x="509501" y="1004947"/>
                  </a:cubicBezTo>
                  <a:cubicBezTo>
                    <a:pt x="509501" y="1004947"/>
                    <a:pt x="509501" y="1004947"/>
                    <a:pt x="509501" y="1004947"/>
                  </a:cubicBezTo>
                  <a:cubicBezTo>
                    <a:pt x="634241" y="1004947"/>
                    <a:pt x="746683" y="1004947"/>
                    <a:pt x="855611" y="1004947"/>
                  </a:cubicBezTo>
                  <a:cubicBezTo>
                    <a:pt x="855611" y="1004947"/>
                    <a:pt x="855611" y="1004947"/>
                    <a:pt x="855611" y="1004947"/>
                  </a:cubicBezTo>
                  <a:cubicBezTo>
                    <a:pt x="860882" y="1004947"/>
                    <a:pt x="862639" y="1006704"/>
                    <a:pt x="864395" y="1011974"/>
                  </a:cubicBezTo>
                  <a:cubicBezTo>
                    <a:pt x="871423" y="1027787"/>
                    <a:pt x="878451" y="1047112"/>
                    <a:pt x="887235" y="1064681"/>
                  </a:cubicBezTo>
                  <a:cubicBezTo>
                    <a:pt x="887235" y="1064681"/>
                    <a:pt x="887235" y="1064681"/>
                    <a:pt x="887235" y="1064681"/>
                  </a:cubicBezTo>
                  <a:cubicBezTo>
                    <a:pt x="887235" y="1064681"/>
                    <a:pt x="887235" y="1064681"/>
                    <a:pt x="885478" y="1064681"/>
                  </a:cubicBezTo>
                  <a:cubicBezTo>
                    <a:pt x="834528" y="1064681"/>
                    <a:pt x="781821" y="1064681"/>
                    <a:pt x="730871" y="1064681"/>
                  </a:cubicBezTo>
                  <a:lnTo>
                    <a:pt x="679921" y="1064681"/>
                  </a:lnTo>
                  <a:lnTo>
                    <a:pt x="627214" y="1064681"/>
                  </a:lnTo>
                  <a:cubicBezTo>
                    <a:pt x="579777" y="1062925"/>
                    <a:pt x="527070" y="1062925"/>
                    <a:pt x="476120" y="1062925"/>
                  </a:cubicBezTo>
                  <a:cubicBezTo>
                    <a:pt x="476120" y="1062925"/>
                    <a:pt x="476120" y="1062925"/>
                    <a:pt x="476120" y="1062925"/>
                  </a:cubicBezTo>
                  <a:close/>
                  <a:moveTo>
                    <a:pt x="1284295" y="925886"/>
                  </a:moveTo>
                  <a:cubicBezTo>
                    <a:pt x="1284295" y="925886"/>
                    <a:pt x="1282538" y="925886"/>
                    <a:pt x="1282538" y="925886"/>
                  </a:cubicBezTo>
                  <a:cubicBezTo>
                    <a:pt x="1280781" y="925886"/>
                    <a:pt x="1279024" y="925886"/>
                    <a:pt x="1279024" y="925886"/>
                  </a:cubicBezTo>
                  <a:cubicBezTo>
                    <a:pt x="1277267" y="925886"/>
                    <a:pt x="1277267" y="925886"/>
                    <a:pt x="1275511" y="925886"/>
                  </a:cubicBezTo>
                  <a:cubicBezTo>
                    <a:pt x="1273754" y="925886"/>
                    <a:pt x="1273754" y="925886"/>
                    <a:pt x="1271997" y="925886"/>
                  </a:cubicBezTo>
                  <a:lnTo>
                    <a:pt x="91359" y="925886"/>
                  </a:lnTo>
                  <a:cubicBezTo>
                    <a:pt x="86088" y="925886"/>
                    <a:pt x="82574" y="925886"/>
                    <a:pt x="79061" y="925886"/>
                  </a:cubicBezTo>
                  <a:cubicBezTo>
                    <a:pt x="79061" y="924129"/>
                    <a:pt x="79061" y="918859"/>
                    <a:pt x="79061" y="913588"/>
                  </a:cubicBezTo>
                  <a:lnTo>
                    <a:pt x="79061" y="903047"/>
                  </a:lnTo>
                  <a:cubicBezTo>
                    <a:pt x="79061" y="883721"/>
                    <a:pt x="79061" y="862638"/>
                    <a:pt x="79061" y="843312"/>
                  </a:cubicBezTo>
                  <a:cubicBezTo>
                    <a:pt x="79061" y="839798"/>
                    <a:pt x="79061" y="836284"/>
                    <a:pt x="79061" y="834528"/>
                  </a:cubicBezTo>
                  <a:cubicBezTo>
                    <a:pt x="80817" y="834528"/>
                    <a:pt x="84331" y="834528"/>
                    <a:pt x="87845" y="834528"/>
                  </a:cubicBezTo>
                  <a:lnTo>
                    <a:pt x="279347" y="834528"/>
                  </a:lnTo>
                  <a:lnTo>
                    <a:pt x="1273754" y="834528"/>
                  </a:lnTo>
                  <a:cubicBezTo>
                    <a:pt x="1277267" y="834528"/>
                    <a:pt x="1280781" y="834528"/>
                    <a:pt x="1284295" y="834528"/>
                  </a:cubicBezTo>
                  <a:cubicBezTo>
                    <a:pt x="1284295" y="836284"/>
                    <a:pt x="1284295" y="841555"/>
                    <a:pt x="1284295" y="845069"/>
                  </a:cubicBezTo>
                  <a:cubicBezTo>
                    <a:pt x="1284295" y="852097"/>
                    <a:pt x="1284295" y="860881"/>
                    <a:pt x="1284295" y="867909"/>
                  </a:cubicBezTo>
                  <a:cubicBezTo>
                    <a:pt x="1284295" y="885478"/>
                    <a:pt x="1284295" y="904804"/>
                    <a:pt x="1284295" y="922373"/>
                  </a:cubicBezTo>
                  <a:cubicBezTo>
                    <a:pt x="1284295" y="925886"/>
                    <a:pt x="1284295" y="925886"/>
                    <a:pt x="1284295" y="925886"/>
                  </a:cubicBezTo>
                  <a:close/>
                </a:path>
              </a:pathLst>
            </a:custGeom>
            <a:solidFill>
              <a:srgbClr val="000000"/>
            </a:solidFill>
            <a:ln w="17526" cap="flat">
              <a:noFill/>
              <a:prstDash val="solid"/>
              <a:miter/>
            </a:ln>
          </p:spPr>
          <p:txBody>
            <a:bodyPr rtlCol="0" anchor="ctr"/>
            <a:lstStyle/>
            <a:p>
              <a:pPr marL="0" marR="0" lvl="0" indent="0" defTabSz="349261" eaLnBrk="1" fontAlgn="auto" latinLnBrk="0" hangingPunct="1">
                <a:lnSpc>
                  <a:spcPct val="100000"/>
                </a:lnSpc>
                <a:spcBef>
                  <a:spcPts val="0"/>
                </a:spcBef>
                <a:spcAft>
                  <a:spcPts val="0"/>
                </a:spcAft>
                <a:buClrTx/>
                <a:buSzTx/>
                <a:buFontTx/>
                <a:buNone/>
                <a:tabLst/>
                <a:defRPr/>
              </a:pPr>
              <a:endParaRPr kumimoji="0" lang="ru-RU" sz="7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31481719"/>
      </p:ext>
    </p:extLst>
  </p:cSld>
  <p:clrMapOvr>
    <a:masterClrMapping/>
  </p:clrMapOvr>
  <mc:AlternateContent xmlns:mc="http://schemas.openxmlformats.org/markup-compatibility/2006" xmlns:p14="http://schemas.microsoft.com/office/powerpoint/2010/main">
    <mc:Choice Requires="p14">
      <p:transition spd="slow" p14:dur="2000" advTm="3337"/>
    </mc:Choice>
    <mc:Fallback xmlns="">
      <p:transition spd="slow" advTm="3337"/>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idx="1"/>
          </p:nvPr>
        </p:nvSpPr>
        <p:spPr>
          <a:xfrm>
            <a:off x="638629" y="955281"/>
            <a:ext cx="11117941" cy="1232691"/>
          </a:xfrm>
        </p:spPr>
        <p:txBody>
          <a:bodyPr>
            <a:normAutofit fontScale="92500"/>
          </a:bodyPr>
          <a:lstStyle/>
          <a:p>
            <a:r>
              <a:rPr lang="ru-RU" sz="2100" dirty="0"/>
              <a:t>Для определения координат характерных точек объектов недвижимости геодезическим методом, методом спутниковых геодезических измерений (определений) и комбинированным методом используются пункты государственной геодезической сети и (или) геодезических сетей специального назначения.</a:t>
            </a:r>
          </a:p>
        </p:txBody>
      </p:sp>
      <p:sp>
        <p:nvSpPr>
          <p:cNvPr id="6" name="Номер слайда 5"/>
          <p:cNvSpPr>
            <a:spLocks noGrp="1"/>
          </p:cNvSpPr>
          <p:nvPr>
            <p:ph type="sldNum" sz="quarter" idx="10"/>
          </p:nvPr>
        </p:nvSpPr>
        <p:spPr/>
        <p:txBody>
          <a:bodyPr/>
          <a:lstStyle/>
          <a:p>
            <a:fld id="{35ACA335-37F7-42C7-872A-92C3D7072F89}" type="slidenum">
              <a:rPr lang="ru-RU" smtClean="0"/>
              <a:pPr/>
              <a:t>10</a:t>
            </a:fld>
            <a:endParaRPr lang="ru-RU" dirty="0"/>
          </a:p>
        </p:txBody>
      </p:sp>
      <p:sp>
        <p:nvSpPr>
          <p:cNvPr id="7" name="Заголовок 6"/>
          <p:cNvSpPr>
            <a:spLocks noGrp="1"/>
          </p:cNvSpPr>
          <p:nvPr>
            <p:ph type="title"/>
          </p:nvPr>
        </p:nvSpPr>
        <p:spPr/>
        <p:txBody>
          <a:bodyPr>
            <a:normAutofit/>
          </a:bodyPr>
          <a:lstStyle/>
          <a:p>
            <a:r>
              <a:rPr lang="ru-RU" sz="2800" dirty="0">
                <a:solidFill>
                  <a:schemeClr val="accent2"/>
                </a:solidFill>
                <a:latin typeface="+mn-lt"/>
                <a:ea typeface="+mn-ea"/>
                <a:cs typeface="+mn-cs"/>
              </a:rPr>
              <a:t>Пункты государственной геодезической сети </a:t>
            </a:r>
          </a:p>
        </p:txBody>
      </p:sp>
      <p:pic>
        <p:nvPicPr>
          <p:cNvPr id="15" name="Объект 14">
            <a:extLst>
              <a:ext uri="{FF2B5EF4-FFF2-40B4-BE49-F238E27FC236}">
                <a16:creationId xmlns:a16="http://schemas.microsoft.com/office/drawing/2014/main" xmlns="" id="{EF2F3A5E-0751-421D-93CF-ECD04C8D8B83}"/>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1032929" y="2525487"/>
            <a:ext cx="4771505" cy="3377232"/>
          </a:xfrm>
        </p:spPr>
      </p:pic>
      <p:pic>
        <p:nvPicPr>
          <p:cNvPr id="17" name="Объект 16">
            <a:extLst>
              <a:ext uri="{FF2B5EF4-FFF2-40B4-BE49-F238E27FC236}">
                <a16:creationId xmlns:a16="http://schemas.microsoft.com/office/drawing/2014/main" xmlns="" id="{0CD4AF48-9F6B-4196-8FF3-C2738EA43926}"/>
              </a:ext>
            </a:extLst>
          </p:cNvPr>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7546352" y="2187972"/>
            <a:ext cx="3160598" cy="3884613"/>
          </a:xfrm>
        </p:spPr>
      </p:pic>
    </p:spTree>
    <p:extLst>
      <p:ext uri="{BB962C8B-B14F-4D97-AF65-F5344CB8AC3E}">
        <p14:creationId xmlns:p14="http://schemas.microsoft.com/office/powerpoint/2010/main" val="27739675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635D24A7-0E74-41AA-84F3-D7FF1D68594F}"/>
              </a:ext>
            </a:extLst>
          </p:cNvPr>
          <p:cNvSpPr>
            <a:spLocks noGrp="1"/>
          </p:cNvSpPr>
          <p:nvPr>
            <p:ph type="sldNum" sz="quarter" idx="10"/>
          </p:nvPr>
        </p:nvSpPr>
        <p:spPr/>
        <p:txBody>
          <a:bodyPr/>
          <a:lstStyle/>
          <a:p>
            <a:fld id="{35ACA335-37F7-42C7-872A-92C3D7072F89}" type="slidenum">
              <a:rPr lang="ru-RU" smtClean="0"/>
              <a:pPr/>
              <a:t>11</a:t>
            </a:fld>
            <a:endParaRPr lang="ru-RU" dirty="0"/>
          </a:p>
        </p:txBody>
      </p:sp>
      <p:sp>
        <p:nvSpPr>
          <p:cNvPr id="3" name="Заголовок 2">
            <a:extLst>
              <a:ext uri="{FF2B5EF4-FFF2-40B4-BE49-F238E27FC236}">
                <a16:creationId xmlns:a16="http://schemas.microsoft.com/office/drawing/2014/main" xmlns="" id="{9B510FEE-639F-433A-8C8D-1961438B2B34}"/>
              </a:ext>
            </a:extLst>
          </p:cNvPr>
          <p:cNvSpPr>
            <a:spLocks noGrp="1"/>
          </p:cNvSpPr>
          <p:nvPr>
            <p:ph type="title"/>
          </p:nvPr>
        </p:nvSpPr>
        <p:spPr/>
        <p:txBody>
          <a:bodyPr/>
          <a:lstStyle/>
          <a:p>
            <a:r>
              <a:rPr lang="ru-RU" dirty="0"/>
              <a:t>Пункты ОМС не используются при геодезических работах</a:t>
            </a:r>
          </a:p>
        </p:txBody>
      </p:sp>
      <p:sp>
        <p:nvSpPr>
          <p:cNvPr id="4" name="Текст 3">
            <a:extLst>
              <a:ext uri="{FF2B5EF4-FFF2-40B4-BE49-F238E27FC236}">
                <a16:creationId xmlns:a16="http://schemas.microsoft.com/office/drawing/2014/main" xmlns="" id="{D8AFCD40-5182-4E87-B2CD-6BE302730997}"/>
              </a:ext>
            </a:extLst>
          </p:cNvPr>
          <p:cNvSpPr>
            <a:spLocks noGrp="1"/>
          </p:cNvSpPr>
          <p:nvPr>
            <p:ph type="body" sz="quarter" idx="13"/>
          </p:nvPr>
        </p:nvSpPr>
        <p:spPr>
          <a:xfrm>
            <a:off x="473183" y="1514928"/>
            <a:ext cx="5255878" cy="4841426"/>
          </a:xfrm>
        </p:spPr>
        <p:txBody>
          <a:bodyPr>
            <a:normAutofit fontScale="92500"/>
          </a:bodyPr>
          <a:lstStyle/>
          <a:p>
            <a:pPr marL="0" indent="0">
              <a:buNone/>
            </a:pPr>
            <a:r>
              <a:rPr lang="ru-RU" sz="2400" dirty="0">
                <a:latin typeface="Times New Roman" panose="02020603050405020304" pitchFamily="18" charset="0"/>
                <a:cs typeface="Times New Roman" panose="02020603050405020304" pitchFamily="18" charset="0"/>
              </a:rPr>
              <a:t>С 1 января 2017 Управление прекратило осуществлять полномочия </a:t>
            </a:r>
            <a:r>
              <a:rPr lang="ru-RU" sz="2400" dirty="0" err="1">
                <a:latin typeface="Times New Roman" panose="02020603050405020304" pitchFamily="18" charset="0"/>
                <a:cs typeface="Times New Roman" panose="02020603050405020304" pitchFamily="18" charset="0"/>
              </a:rPr>
              <a:t>фондодержателя</a:t>
            </a:r>
            <a:r>
              <a:rPr lang="ru-RU" sz="2400" dirty="0">
                <a:latin typeface="Times New Roman" panose="02020603050405020304" pitchFamily="18" charset="0"/>
                <a:cs typeface="Times New Roman" panose="02020603050405020304" pitchFamily="18" charset="0"/>
              </a:rPr>
              <a:t> пространственных данных, а также полномочия по предоставлению в пользование материалов и данных фонда. </a:t>
            </a:r>
          </a:p>
          <a:p>
            <a:pPr marL="0" indent="0">
              <a:buNone/>
            </a:pPr>
            <a:endParaRPr lang="ru-RU" sz="2400" dirty="0">
              <a:latin typeface="Times New Roman" panose="02020603050405020304" pitchFamily="18" charset="0"/>
              <a:cs typeface="Times New Roman" panose="02020603050405020304" pitchFamily="18" charset="0"/>
            </a:endParaRPr>
          </a:p>
          <a:p>
            <a:pPr marL="0" indent="0">
              <a:buNone/>
            </a:pPr>
            <a:r>
              <a:rPr lang="ru-RU" sz="2400" dirty="0">
                <a:latin typeface="Times New Roman" panose="02020603050405020304" pitchFamily="18" charset="0"/>
                <a:cs typeface="Times New Roman" panose="02020603050405020304" pitchFamily="18" charset="0"/>
              </a:rPr>
              <a:t>С 15 октября 2021 Управление прекратило осуществлять предоставление сведений о координатах пунктов опорной межевой сети (ОМС), сведения о которых ранее были включены в государственный фонд данных, полученных в результате проведения землеустройства (ГФДЗ)</a:t>
            </a:r>
          </a:p>
        </p:txBody>
      </p:sp>
      <p:pic>
        <p:nvPicPr>
          <p:cNvPr id="8" name="Рисунок 7">
            <a:extLst>
              <a:ext uri="{FF2B5EF4-FFF2-40B4-BE49-F238E27FC236}">
                <a16:creationId xmlns:a16="http://schemas.microsoft.com/office/drawing/2014/main" xmlns="" id="{6F0BBCD1-850E-4992-BC03-298DF17AD1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021827"/>
            <a:ext cx="5752407" cy="4347556"/>
          </a:xfrm>
          <a:prstGeom prst="rect">
            <a:avLst/>
          </a:prstGeom>
        </p:spPr>
      </p:pic>
    </p:spTree>
    <p:extLst>
      <p:ext uri="{BB962C8B-B14F-4D97-AF65-F5344CB8AC3E}">
        <p14:creationId xmlns:p14="http://schemas.microsoft.com/office/powerpoint/2010/main" val="36882467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12</a:t>
            </a:fld>
            <a:endParaRPr lang="ru-RU" dirty="0"/>
          </a:p>
        </p:txBody>
      </p:sp>
      <p:sp>
        <p:nvSpPr>
          <p:cNvPr id="3" name="Заголовок 2"/>
          <p:cNvSpPr>
            <a:spLocks noGrp="1"/>
          </p:cNvSpPr>
          <p:nvPr>
            <p:ph type="title"/>
          </p:nvPr>
        </p:nvSpPr>
        <p:spPr/>
        <p:txBody>
          <a:bodyPr/>
          <a:lstStyle/>
          <a:p>
            <a:r>
              <a:rPr lang="ru-RU" dirty="0" smtClean="0"/>
              <a:t>ОМС в действующем законодательстве</a:t>
            </a:r>
            <a:endParaRPr lang="ru-RU" dirty="0"/>
          </a:p>
        </p:txBody>
      </p:sp>
      <p:sp>
        <p:nvSpPr>
          <p:cNvPr id="7" name="Прямоугольник 6"/>
          <p:cNvSpPr/>
          <p:nvPr/>
        </p:nvSpPr>
        <p:spPr>
          <a:xfrm>
            <a:off x="529590" y="1211222"/>
            <a:ext cx="10824210" cy="4524315"/>
          </a:xfrm>
          <a:prstGeom prst="rect">
            <a:avLst/>
          </a:prstGeom>
        </p:spPr>
        <p:txBody>
          <a:bodyPr wrap="square">
            <a:spAutoFit/>
          </a:bodyPr>
          <a:lstStyle/>
          <a:p>
            <a:pPr algn="just"/>
            <a:r>
              <a:rPr lang="ru-RU" dirty="0" smtClean="0"/>
              <a:t>	Понятие «</a:t>
            </a:r>
            <a:r>
              <a:rPr lang="ru-RU" dirty="0"/>
              <a:t>опорные межевые сети», приведенное в части 1 статьи 6 Закона № 218-ФЗ, а также в </a:t>
            </a:r>
            <a:r>
              <a:rPr lang="ru-RU" dirty="0" smtClean="0"/>
              <a:t>ранее действовавших приказах </a:t>
            </a:r>
            <a:r>
              <a:rPr lang="ru-RU" dirty="0"/>
              <a:t>Минэкономразвития России от 18.12.2015 № 953 «Об утверждении формы технического плана и требований к его </a:t>
            </a:r>
            <a:r>
              <a:rPr lang="ru-RU" dirty="0" smtClean="0"/>
              <a:t>подготовке…» </a:t>
            </a:r>
            <a:r>
              <a:rPr lang="ru-RU" dirty="0"/>
              <a:t>и от 08.12.2015 № 921 «Об утверждении формы и состава сведений межевого </a:t>
            </a:r>
            <a:r>
              <a:rPr lang="ru-RU" dirty="0" smtClean="0"/>
              <a:t>плана…» </a:t>
            </a:r>
            <a:r>
              <a:rPr lang="ru-RU" dirty="0"/>
              <a:t>используется в качестве обобщенного и сокращенного понятия в отношении </a:t>
            </a:r>
            <a:r>
              <a:rPr lang="ru-RU" b="1" dirty="0" smtClean="0"/>
              <a:t>геодезических сетей </a:t>
            </a:r>
            <a:r>
              <a:rPr lang="ru-RU" b="1" dirty="0"/>
              <a:t>специального </a:t>
            </a:r>
            <a:r>
              <a:rPr lang="ru-RU" b="1" dirty="0" smtClean="0"/>
              <a:t>назначения </a:t>
            </a:r>
            <a:r>
              <a:rPr lang="ru-RU" dirty="0" smtClean="0"/>
              <a:t>(ГССН). </a:t>
            </a:r>
          </a:p>
          <a:p>
            <a:pPr algn="just"/>
            <a:r>
              <a:rPr lang="ru-RU" dirty="0"/>
              <a:t>	</a:t>
            </a:r>
            <a:endParaRPr lang="ru-RU" dirty="0" smtClean="0"/>
          </a:p>
          <a:p>
            <a:pPr algn="just"/>
            <a:r>
              <a:rPr lang="ru-RU" dirty="0"/>
              <a:t>	</a:t>
            </a:r>
            <a:r>
              <a:rPr lang="ru-RU" dirty="0" smtClean="0"/>
              <a:t>Применение </a:t>
            </a:r>
            <a:r>
              <a:rPr lang="ru-RU" dirty="0"/>
              <a:t>понятия «опорные межевые сети» в узком смысле (исключительно к тем геодезическим сетям, которые содержат в своем наименовании указание на это понятие) не соответствует положениям Законов № 218-ФЗ и № </a:t>
            </a:r>
            <a:r>
              <a:rPr lang="ru-RU" dirty="0" smtClean="0"/>
              <a:t>431-ФЗ.</a:t>
            </a:r>
          </a:p>
          <a:p>
            <a:pPr algn="just"/>
            <a:endParaRPr lang="ru-RU" dirty="0"/>
          </a:p>
          <a:p>
            <a:pPr algn="just"/>
            <a:r>
              <a:rPr lang="ru-RU" dirty="0" smtClean="0"/>
              <a:t>	В приказах </a:t>
            </a:r>
            <a:r>
              <a:rPr lang="ru-RU" dirty="0"/>
              <a:t>Росреестра </a:t>
            </a:r>
            <a:r>
              <a:rPr lang="ru-RU" dirty="0" smtClean="0"/>
              <a:t>от 14.12.2021 № П/0592 «Об </a:t>
            </a:r>
            <a:r>
              <a:rPr lang="ru-RU" dirty="0"/>
              <a:t>утверждении формы и состава сведений межевого плана, требований к его подготовке», </a:t>
            </a:r>
            <a:r>
              <a:rPr lang="ru-RU" dirty="0" smtClean="0"/>
              <a:t>от 15.03.2022 № П/0082 «Об </a:t>
            </a:r>
            <a:r>
              <a:rPr lang="ru-RU" dirty="0"/>
              <a:t>утверждении формы технического плана и требований к его подготовке, состава содержащихся в нем сведений, а также формы </a:t>
            </a:r>
            <a:r>
              <a:rPr lang="ru-RU" dirty="0" smtClean="0"/>
              <a:t>декларации </a:t>
            </a:r>
            <a:r>
              <a:rPr lang="ru-RU" dirty="0"/>
              <a:t>об объекте недвижимости, требований к ее подготовке, состава содержащихся в ней сведений», которые понятие «опорные межевые сети» не содержат.</a:t>
            </a:r>
          </a:p>
        </p:txBody>
      </p:sp>
    </p:spTree>
    <p:extLst>
      <p:ext uri="{BB962C8B-B14F-4D97-AF65-F5344CB8AC3E}">
        <p14:creationId xmlns:p14="http://schemas.microsoft.com/office/powerpoint/2010/main" val="11722186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13</a:t>
            </a:fld>
            <a:endParaRPr lang="ru-RU" dirty="0"/>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77207" y="1123955"/>
            <a:ext cx="7877175" cy="5210175"/>
          </a:xfrm>
          <a:prstGeom prst="rect">
            <a:avLst/>
          </a:prstGeom>
        </p:spPr>
      </p:pic>
      <p:sp>
        <p:nvSpPr>
          <p:cNvPr id="6" name="Прямоугольник 5"/>
          <p:cNvSpPr/>
          <p:nvPr/>
        </p:nvSpPr>
        <p:spPr>
          <a:xfrm>
            <a:off x="370114" y="2198185"/>
            <a:ext cx="3248297" cy="646331"/>
          </a:xfrm>
          <a:prstGeom prst="rect">
            <a:avLst/>
          </a:prstGeom>
        </p:spPr>
        <p:txBody>
          <a:bodyPr wrap="square">
            <a:spAutoFit/>
          </a:bodyPr>
          <a:lstStyle/>
          <a:p>
            <a:r>
              <a:rPr lang="ru-RU" dirty="0" smtClean="0"/>
              <a:t>Сведения о пунктах ОМС из ГФДЗ </a:t>
            </a:r>
            <a:r>
              <a:rPr lang="ru-RU" b="1" dirty="0" smtClean="0"/>
              <a:t>не предоставляются</a:t>
            </a:r>
            <a:endParaRPr lang="ru-RU" b="1" dirty="0"/>
          </a:p>
        </p:txBody>
      </p:sp>
      <p:sp>
        <p:nvSpPr>
          <p:cNvPr id="7" name="Прямоугольник 6">
            <a:extLst>
              <a:ext uri="{FF2B5EF4-FFF2-40B4-BE49-F238E27FC236}">
                <a16:creationId xmlns:a16="http://schemas.microsoft.com/office/drawing/2014/main" xmlns="" id="{7CC8C5A6-78B6-4AAD-AE6F-BF7D7776AD1D}"/>
              </a:ext>
            </a:extLst>
          </p:cNvPr>
          <p:cNvSpPr/>
          <p:nvPr/>
        </p:nvSpPr>
        <p:spPr>
          <a:xfrm>
            <a:off x="370114" y="2066992"/>
            <a:ext cx="3248297" cy="908719"/>
          </a:xfrm>
          <a:prstGeom prst="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Стрелка вправо 7"/>
          <p:cNvSpPr/>
          <p:nvPr/>
        </p:nvSpPr>
        <p:spPr>
          <a:xfrm rot="20522792">
            <a:off x="3129207" y="145955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Прямоугольник 8"/>
          <p:cNvSpPr/>
          <p:nvPr/>
        </p:nvSpPr>
        <p:spPr>
          <a:xfrm>
            <a:off x="449512" y="4667961"/>
            <a:ext cx="3248297" cy="1200329"/>
          </a:xfrm>
          <a:prstGeom prst="rect">
            <a:avLst/>
          </a:prstGeom>
        </p:spPr>
        <p:txBody>
          <a:bodyPr wrap="square">
            <a:spAutoFit/>
          </a:bodyPr>
          <a:lstStyle/>
          <a:p>
            <a:r>
              <a:rPr lang="ru-RU" dirty="0" smtClean="0"/>
              <a:t>Пункты ОМС не могут быть использованы при проведении геодезических работ</a:t>
            </a:r>
            <a:endParaRPr lang="ru-RU" dirty="0"/>
          </a:p>
        </p:txBody>
      </p:sp>
      <p:sp>
        <p:nvSpPr>
          <p:cNvPr id="10" name="Прямоугольник 9">
            <a:extLst>
              <a:ext uri="{FF2B5EF4-FFF2-40B4-BE49-F238E27FC236}">
                <a16:creationId xmlns:a16="http://schemas.microsoft.com/office/drawing/2014/main" xmlns="" id="{7CC8C5A6-78B6-4AAD-AE6F-BF7D7776AD1D}"/>
              </a:ext>
            </a:extLst>
          </p:cNvPr>
          <p:cNvSpPr/>
          <p:nvPr/>
        </p:nvSpPr>
        <p:spPr>
          <a:xfrm>
            <a:off x="461553" y="4604295"/>
            <a:ext cx="3156858" cy="1292595"/>
          </a:xfrm>
          <a:prstGeom prst="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Стрелка вправо 10"/>
          <p:cNvSpPr/>
          <p:nvPr/>
        </p:nvSpPr>
        <p:spPr>
          <a:xfrm rot="20522792">
            <a:off x="2873253" y="3870836"/>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Заголовок 2"/>
          <p:cNvSpPr>
            <a:spLocks noGrp="1"/>
          </p:cNvSpPr>
          <p:nvPr>
            <p:ph type="title"/>
          </p:nvPr>
        </p:nvSpPr>
        <p:spPr>
          <a:xfrm>
            <a:off x="962025" y="4"/>
            <a:ext cx="10534651" cy="838199"/>
          </a:xfrm>
        </p:spPr>
        <p:txBody>
          <a:bodyPr/>
          <a:lstStyle/>
          <a:p>
            <a:r>
              <a:rPr lang="ru-RU" dirty="0" smtClean="0"/>
              <a:t>ОШИБКА</a:t>
            </a:r>
            <a:endParaRPr lang="ru-RU" dirty="0"/>
          </a:p>
        </p:txBody>
      </p:sp>
    </p:spTree>
    <p:extLst>
      <p:ext uri="{BB962C8B-B14F-4D97-AF65-F5344CB8AC3E}">
        <p14:creationId xmlns:p14="http://schemas.microsoft.com/office/powerpoint/2010/main" val="80050325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14</a:t>
            </a:fld>
            <a:endParaRPr lang="ru-RU" dirty="0"/>
          </a:p>
        </p:txBody>
      </p:sp>
      <p:sp>
        <p:nvSpPr>
          <p:cNvPr id="3" name="Заголовок 2"/>
          <p:cNvSpPr>
            <a:spLocks noGrp="1"/>
          </p:cNvSpPr>
          <p:nvPr>
            <p:ph type="title"/>
          </p:nvPr>
        </p:nvSpPr>
        <p:spPr/>
        <p:txBody>
          <a:bodyPr/>
          <a:lstStyle/>
          <a:p>
            <a:r>
              <a:rPr lang="ru-RU" b="0" dirty="0" smtClean="0"/>
              <a:t>Кадастровый план территории не является источником сведений об исходных пунктах </a:t>
            </a:r>
            <a:endParaRPr lang="ru-RU" dirty="0"/>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85123" y="1075645"/>
            <a:ext cx="7800975" cy="3400425"/>
          </a:xfrm>
          <a:prstGeom prst="rect">
            <a:avLst/>
          </a:prstGeom>
        </p:spPr>
      </p:pic>
      <p:pic>
        <p:nvPicPr>
          <p:cNvPr id="6" name="Рисунок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4173" y="4643100"/>
            <a:ext cx="7781925" cy="1524000"/>
          </a:xfrm>
          <a:prstGeom prst="rect">
            <a:avLst/>
          </a:prstGeom>
        </p:spPr>
      </p:pic>
      <p:sp>
        <p:nvSpPr>
          <p:cNvPr id="7" name="Текст 3"/>
          <p:cNvSpPr>
            <a:spLocks noGrp="1"/>
          </p:cNvSpPr>
          <p:nvPr>
            <p:ph type="body" sz="quarter" idx="11"/>
          </p:nvPr>
        </p:nvSpPr>
        <p:spPr>
          <a:xfrm>
            <a:off x="286931" y="1119324"/>
            <a:ext cx="3553549" cy="5214806"/>
          </a:xfrm>
        </p:spPr>
        <p:txBody>
          <a:bodyPr>
            <a:normAutofit/>
          </a:bodyPr>
          <a:lstStyle/>
          <a:p>
            <a:pPr marL="0" indent="0">
              <a:buNone/>
            </a:pPr>
            <a:r>
              <a:rPr lang="ru-RU" dirty="0" smtClean="0">
                <a:solidFill>
                  <a:schemeClr val="tx1"/>
                </a:solidFill>
              </a:rPr>
              <a:t>При </a:t>
            </a:r>
            <a:r>
              <a:rPr lang="ru-RU" dirty="0">
                <a:solidFill>
                  <a:schemeClr val="tx1"/>
                </a:solidFill>
              </a:rPr>
              <a:t>определении границ образуемого земельного участка использовался метод спутниковых геодезических измерений</a:t>
            </a:r>
            <a:r>
              <a:rPr lang="ru-RU" dirty="0" smtClean="0">
                <a:solidFill>
                  <a:schemeClr val="tx1"/>
                </a:solidFill>
              </a:rPr>
              <a:t>.</a:t>
            </a:r>
          </a:p>
          <a:p>
            <a:pPr marL="0" indent="0">
              <a:buNone/>
            </a:pPr>
            <a:endParaRPr lang="ru-RU" dirty="0">
              <a:solidFill>
                <a:schemeClr val="tx1"/>
              </a:solidFill>
            </a:endParaRPr>
          </a:p>
          <a:p>
            <a:pPr marL="0" indent="0">
              <a:buNone/>
            </a:pPr>
            <a:r>
              <a:rPr lang="ru-RU" sz="1800" dirty="0" smtClean="0">
                <a:solidFill>
                  <a:schemeClr val="tx1"/>
                </a:solidFill>
              </a:rPr>
              <a:t>Сведения об исходных геодезических пунктах не запрашивались в уполномоченном органе.</a:t>
            </a:r>
          </a:p>
          <a:p>
            <a:pPr marL="0" indent="0">
              <a:buNone/>
            </a:pPr>
            <a:endParaRPr lang="ru-RU" sz="1800" dirty="0" smtClean="0">
              <a:solidFill>
                <a:schemeClr val="tx1"/>
              </a:solidFill>
            </a:endParaRPr>
          </a:p>
          <a:p>
            <a:pPr marL="0" indent="0">
              <a:buNone/>
            </a:pPr>
            <a:r>
              <a:rPr lang="ru-RU" sz="1800" dirty="0" smtClean="0">
                <a:solidFill>
                  <a:schemeClr val="tx1"/>
                </a:solidFill>
              </a:rPr>
              <a:t>Согласно заключению кадастрового инженера </a:t>
            </a:r>
            <a:r>
              <a:rPr lang="ru-RU" dirty="0">
                <a:solidFill>
                  <a:schemeClr val="tx1"/>
                </a:solidFill>
              </a:rPr>
              <a:t>с</a:t>
            </a:r>
            <a:r>
              <a:rPr lang="ru-RU" dirty="0" smtClean="0">
                <a:solidFill>
                  <a:schemeClr val="tx1"/>
                </a:solidFill>
              </a:rPr>
              <a:t>ведения </a:t>
            </a:r>
            <a:r>
              <a:rPr lang="ru-RU" dirty="0">
                <a:solidFill>
                  <a:schemeClr val="tx1"/>
                </a:solidFill>
              </a:rPr>
              <a:t>о пунктах опорной межевой сети взяты из кадастрового плана </a:t>
            </a:r>
            <a:r>
              <a:rPr lang="ru-RU" dirty="0" smtClean="0">
                <a:solidFill>
                  <a:schemeClr val="tx1"/>
                </a:solidFill>
              </a:rPr>
              <a:t>территории.</a:t>
            </a:r>
          </a:p>
          <a:p>
            <a:pPr marL="0" indent="0">
              <a:buNone/>
            </a:pPr>
            <a:r>
              <a:rPr lang="ru-RU" dirty="0" smtClean="0">
                <a:solidFill>
                  <a:schemeClr val="tx1"/>
                </a:solidFill>
              </a:rPr>
              <a:t>Пункты ОМС не используются!</a:t>
            </a:r>
            <a:endParaRPr lang="ru-RU" dirty="0">
              <a:solidFill>
                <a:schemeClr val="tx1"/>
              </a:solidFill>
            </a:endParaRPr>
          </a:p>
        </p:txBody>
      </p:sp>
    </p:spTree>
    <p:extLst>
      <p:ext uri="{BB962C8B-B14F-4D97-AF65-F5344CB8AC3E}">
        <p14:creationId xmlns:p14="http://schemas.microsoft.com/office/powerpoint/2010/main" val="78713160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15</a:t>
            </a:fld>
            <a:endParaRPr lang="ru-RU" dirty="0"/>
          </a:p>
        </p:txBody>
      </p:sp>
      <p:sp>
        <p:nvSpPr>
          <p:cNvPr id="3" name="Заголовок 2"/>
          <p:cNvSpPr>
            <a:spLocks noGrp="1"/>
          </p:cNvSpPr>
          <p:nvPr>
            <p:ph type="title"/>
          </p:nvPr>
        </p:nvSpPr>
        <p:spPr/>
        <p:txBody>
          <a:bodyPr>
            <a:normAutofit fontScale="90000"/>
          </a:bodyPr>
          <a:lstStyle/>
          <a:p>
            <a:r>
              <a:rPr lang="ru-RU" sz="2800" dirty="0"/>
              <a:t>Получение выписки из каталога координат пунктов государственной геодезической сети</a:t>
            </a:r>
          </a:p>
        </p:txBody>
      </p:sp>
      <p:sp>
        <p:nvSpPr>
          <p:cNvPr id="4" name="Текст 3"/>
          <p:cNvSpPr>
            <a:spLocks noGrp="1"/>
          </p:cNvSpPr>
          <p:nvPr>
            <p:ph type="body" sz="quarter" idx="11"/>
          </p:nvPr>
        </p:nvSpPr>
        <p:spPr>
          <a:xfrm>
            <a:off x="457200" y="1071154"/>
            <a:ext cx="11351623" cy="5148671"/>
          </a:xfrm>
        </p:spPr>
        <p:txBody>
          <a:bodyPr>
            <a:normAutofit fontScale="92500" lnSpcReduction="10000"/>
          </a:bodyPr>
          <a:lstStyle/>
          <a:p>
            <a:pPr indent="0">
              <a:lnSpc>
                <a:spcPct val="115000"/>
              </a:lnSpc>
              <a:buNone/>
            </a:pPr>
            <a:r>
              <a:rPr lang="ru-RU" sz="1800" dirty="0">
                <a:solidFill>
                  <a:srgbClr val="000000"/>
                </a:solidFill>
                <a:effectLst/>
                <a:latin typeface="Times New Roman" panose="02020603050405020304" pitchFamily="18" charset="0"/>
                <a:ea typeface="Times New Roman" panose="02020603050405020304" pitchFamily="18" charset="0"/>
              </a:rPr>
              <a:t>Сведения о пунктах ГГС, в том числе каталоги координат хранятся в </a:t>
            </a:r>
          </a:p>
          <a:p>
            <a:pPr indent="0" algn="ctr">
              <a:lnSpc>
                <a:spcPct val="115000"/>
              </a:lnSpc>
              <a:buNone/>
            </a:pPr>
            <a:r>
              <a:rPr lang="ru-RU" sz="2800" dirty="0">
                <a:solidFill>
                  <a:schemeClr val="accent2"/>
                </a:solidFill>
                <a:latin typeface="Times New Roman" panose="02020603050405020304" pitchFamily="18" charset="0"/>
              </a:rPr>
              <a:t>Ф</a:t>
            </a:r>
            <a:r>
              <a:rPr lang="ru-RU" sz="2800" dirty="0">
                <a:solidFill>
                  <a:schemeClr val="accent2"/>
                </a:solidFill>
                <a:effectLst/>
                <a:latin typeface="Times New Roman" panose="02020603050405020304" pitchFamily="18" charset="0"/>
                <a:ea typeface="Times New Roman" panose="02020603050405020304" pitchFamily="18" charset="0"/>
              </a:rPr>
              <a:t>едеральном фонде пространственных данных (ФФПД)</a:t>
            </a:r>
            <a:endParaRPr lang="ru-RU" sz="1800" dirty="0">
              <a:effectLst/>
              <a:latin typeface="Times New Roman" panose="02020603050405020304" pitchFamily="18" charset="0"/>
              <a:ea typeface="Times New Roman" panose="02020603050405020304" pitchFamily="18" charset="0"/>
            </a:endParaRPr>
          </a:p>
          <a:p>
            <a:pPr indent="0" algn="just">
              <a:lnSpc>
                <a:spcPct val="115000"/>
              </a:lnSpc>
              <a:buNone/>
            </a:pPr>
            <a:r>
              <a:rPr lang="ru-RU" sz="1800" dirty="0">
                <a:solidFill>
                  <a:srgbClr val="000000"/>
                </a:solidFill>
                <a:effectLst/>
                <a:latin typeface="Times New Roman" panose="02020603050405020304" pitchFamily="18" charset="0"/>
                <a:ea typeface="Times New Roman" panose="02020603050405020304" pitchFamily="18" charset="0"/>
              </a:rPr>
              <a:t>Ведение ФФПД осуществляет федеральное государственное бюджетное учреждение «Федеральный научно-технический центр геодезии, картографии и инфраструктуры пространственных данных»</a:t>
            </a:r>
          </a:p>
          <a:p>
            <a:pPr indent="0" algn="ctr">
              <a:lnSpc>
                <a:spcPct val="115000"/>
              </a:lnSpc>
              <a:buNone/>
            </a:pPr>
            <a:r>
              <a:rPr lang="ru-RU" sz="2800" dirty="0">
                <a:solidFill>
                  <a:schemeClr val="accent2"/>
                </a:solidFill>
                <a:latin typeface="Times New Roman" panose="02020603050405020304" pitchFamily="18" charset="0"/>
              </a:rPr>
              <a:t>ФГБУ «Центр геодезии, картографии и ИПД»</a:t>
            </a:r>
          </a:p>
          <a:p>
            <a:pPr indent="0" algn="just">
              <a:lnSpc>
                <a:spcPct val="115000"/>
              </a:lnSpc>
              <a:buNone/>
            </a:pPr>
            <a:r>
              <a:rPr lang="ru-RU" sz="1800" dirty="0">
                <a:solidFill>
                  <a:srgbClr val="000000"/>
                </a:solidFill>
                <a:effectLst/>
                <a:latin typeface="Times New Roman" panose="02020603050405020304" pitchFamily="18" charset="0"/>
                <a:ea typeface="Times New Roman" panose="02020603050405020304" pitchFamily="18" charset="0"/>
              </a:rPr>
              <a:t>Таким образом, Выписку из каталога координат пунктов ГГС можно получить только в ФГБУ «Центр геодезии, картографии и ИПД».</a:t>
            </a:r>
          </a:p>
          <a:p>
            <a:pPr indent="0" algn="just">
              <a:lnSpc>
                <a:spcPct val="115000"/>
              </a:lnSpc>
              <a:buNone/>
            </a:pPr>
            <a:r>
              <a:rPr lang="ru-RU" sz="1800" b="1" dirty="0">
                <a:solidFill>
                  <a:srgbClr val="000000"/>
                </a:solidFill>
                <a:effectLst/>
                <a:latin typeface="Times New Roman" panose="02020603050405020304" pitchFamily="18" charset="0"/>
                <a:ea typeface="Times New Roman" panose="02020603050405020304" pitchFamily="18" charset="0"/>
              </a:rPr>
              <a:t>Заявление направляется одним из наиболее удобных способов:</a:t>
            </a:r>
            <a:endParaRPr lang="ru-RU" sz="1800" b="1" dirty="0">
              <a:effectLst/>
              <a:latin typeface="Times New Roman" panose="02020603050405020304" pitchFamily="18" charset="0"/>
              <a:ea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894080" algn="l"/>
              </a:tabLst>
            </a:pP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через</a:t>
            </a: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hlinkClick r:id="rId2"/>
              </a:rPr>
              <a:t> личный кабинет системы поиска материалов и данных.</a:t>
            </a: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Функции личного кабинета позволяют направить в электронном виде заявление и необходимые для его рассмотрения документы, при этом заявитель должен иметь усиленную квалифицированную электронную подпись (УКЭП). Ссылка на сервис:</a:t>
            </a: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hlinkClick r:id="rId2"/>
              </a:rPr>
              <a:t> https://order.cgkipd.ru/</a:t>
            </a:r>
            <a:endParaRPr lang="ru-RU" sz="18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spcAft>
                <a:spcPts val="1500"/>
              </a:spcAft>
              <a:buClr>
                <a:srgbClr val="000000"/>
              </a:buClr>
              <a:buSzPts val="1200"/>
              <a:buFont typeface="+mj-lt"/>
              <a:buAutoNum type="arabicParenR"/>
              <a:tabLst>
                <a:tab pos="894080" algn="l"/>
              </a:tabLst>
            </a:pP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при личном обращении или почтой в ФГБУ «Центр геодезии, картографии и ИПД» по адресу: г. Москва, ул. Онежская, д.26 или в региональные отделы учреждения.</a:t>
            </a:r>
            <a:endParaRPr lang="ru-RU" dirty="0"/>
          </a:p>
        </p:txBody>
      </p:sp>
    </p:spTree>
    <p:extLst>
      <p:ext uri="{BB962C8B-B14F-4D97-AF65-F5344CB8AC3E}">
        <p14:creationId xmlns:p14="http://schemas.microsoft.com/office/powerpoint/2010/main" val="1373226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1375" y="-21691"/>
            <a:ext cx="10534651" cy="838199"/>
          </a:xfrm>
        </p:spPr>
        <p:txBody>
          <a:bodyPr/>
          <a:lstStyle/>
          <a:p>
            <a:pPr>
              <a:lnSpc>
                <a:spcPct val="107000"/>
              </a:lnSpc>
              <a:spcAft>
                <a:spcPts val="800"/>
              </a:spcAft>
            </a:pPr>
            <a:r>
              <a:rPr lang="ru-RU" dirty="0">
                <a:latin typeface="Times New Roman" panose="02020603050405020304" pitchFamily="18" charset="0"/>
                <a:cs typeface="Times New Roman" panose="02020603050405020304" pitchFamily="18" charset="0"/>
              </a:rPr>
              <a:t>Поисковая система пунктов ГГС</a:t>
            </a:r>
          </a:p>
        </p:txBody>
      </p:sp>
      <p:sp>
        <p:nvSpPr>
          <p:cNvPr id="17" name="Номер слайда 1"/>
          <p:cNvSpPr>
            <a:spLocks noGrp="1"/>
          </p:cNvSpPr>
          <p:nvPr>
            <p:ph type="sldNum" sz="quarter" idx="10"/>
          </p:nvPr>
        </p:nvSpPr>
        <p:spPr>
          <a:xfrm>
            <a:off x="8743949" y="6334130"/>
            <a:ext cx="2743200" cy="365125"/>
          </a:xfrm>
        </p:spPr>
        <p:txBody>
          <a:bodyPr/>
          <a:lstStyle/>
          <a:p>
            <a:fld id="{35ACA335-37F7-42C7-872A-92C3D7072F89}" type="slidenum">
              <a:rPr lang="ru-RU" smtClean="0"/>
              <a:pPr/>
              <a:t>16</a:t>
            </a:fld>
            <a:endParaRPr lang="ru-RU" dirty="0"/>
          </a:p>
        </p:txBody>
      </p:sp>
      <p:pic>
        <p:nvPicPr>
          <p:cNvPr id="8" name="Picutre 13">
            <a:extLst>
              <a:ext uri="{FF2B5EF4-FFF2-40B4-BE49-F238E27FC236}">
                <a16:creationId xmlns:a16="http://schemas.microsoft.com/office/drawing/2014/main" xmlns="" id="{CDA46B00-DC53-448F-B03E-B2FFFEF98EFC}"/>
              </a:ext>
            </a:extLst>
          </p:cNvPr>
          <p:cNvPicPr/>
          <p:nvPr/>
        </p:nvPicPr>
        <p:blipFill>
          <a:blip r:embed="rId2"/>
          <a:stretch/>
        </p:blipFill>
        <p:spPr>
          <a:xfrm>
            <a:off x="827314" y="1059543"/>
            <a:ext cx="10943772" cy="5274587"/>
          </a:xfrm>
          <a:prstGeom prst="rect">
            <a:avLst/>
          </a:prstGeom>
        </p:spPr>
      </p:pic>
    </p:spTree>
    <p:extLst>
      <p:ext uri="{BB962C8B-B14F-4D97-AF65-F5344CB8AC3E}">
        <p14:creationId xmlns:p14="http://schemas.microsoft.com/office/powerpoint/2010/main" val="9172387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xmlns="" id="{77E39B91-47DC-2B49-8EB0-17BCDF70F3CF}"/>
              </a:ext>
            </a:extLst>
          </p:cNvPr>
          <p:cNvSpPr txBox="1"/>
          <p:nvPr/>
        </p:nvSpPr>
        <p:spPr>
          <a:xfrm>
            <a:off x="10227352" y="6533415"/>
            <a:ext cx="345636" cy="268531"/>
          </a:xfrm>
          <a:prstGeom prst="rect">
            <a:avLst/>
          </a:prstGeom>
          <a:noFill/>
          <a:ln cap="rnd">
            <a:noFill/>
            <a:prstDash val="solid"/>
          </a:ln>
        </p:spPr>
        <p:txBody>
          <a:bodyPr vert="horz" wrap="square" lIns="0" tIns="0" rIns="0" bIns="0" rtlCol="0" anchor="ctr" anchorCtr="0">
            <a:noAutofit/>
          </a:bodyPr>
          <a:lstStyle/>
          <a:p>
            <a:pPr algn="ctr" defTabSz="653156">
              <a:defRPr/>
            </a:pPr>
            <a:endParaRPr lang="ru-RU" sz="1000" b="1" dirty="0">
              <a:solidFill>
                <a:schemeClr val="bg1"/>
              </a:solidFill>
              <a:latin typeface="Arial" panose="020B0604020202020204" pitchFamily="34" charset="0"/>
              <a:cs typeface="Arial" panose="020B0604020202020204" pitchFamily="34" charset="0"/>
            </a:endParaRPr>
          </a:p>
        </p:txBody>
      </p:sp>
      <p:sp>
        <p:nvSpPr>
          <p:cNvPr id="2" name="Заголовок 1"/>
          <p:cNvSpPr>
            <a:spLocks noGrp="1"/>
          </p:cNvSpPr>
          <p:nvPr>
            <p:ph type="title"/>
          </p:nvPr>
        </p:nvSpPr>
        <p:spPr>
          <a:xfrm>
            <a:off x="1014390" y="-10244"/>
            <a:ext cx="10534651" cy="838199"/>
          </a:xfrm>
        </p:spPr>
        <p:txBody>
          <a:bodyPr>
            <a:normAutofit/>
          </a:bodyPr>
          <a:lstStyle/>
          <a:p>
            <a:pPr>
              <a:lnSpc>
                <a:spcPct val="107000"/>
              </a:lnSpc>
              <a:spcAft>
                <a:spcPts val="0"/>
              </a:spcAft>
            </a:pPr>
            <a:r>
              <a:rPr lang="ru-RU" dirty="0">
                <a:latin typeface="Times New Roman" panose="02020603050405020304" pitchFamily="18" charset="0"/>
                <a:cs typeface="Times New Roman" panose="02020603050405020304" pitchFamily="18" charset="0"/>
              </a:rPr>
              <a:t>Оформляем заявку</a:t>
            </a:r>
          </a:p>
        </p:txBody>
      </p:sp>
      <p:sp>
        <p:nvSpPr>
          <p:cNvPr id="21" name="Номер слайда 1"/>
          <p:cNvSpPr>
            <a:spLocks noGrp="1"/>
          </p:cNvSpPr>
          <p:nvPr>
            <p:ph type="sldNum" sz="quarter" idx="10"/>
          </p:nvPr>
        </p:nvSpPr>
        <p:spPr>
          <a:xfrm>
            <a:off x="8743949" y="6334130"/>
            <a:ext cx="2743200" cy="365125"/>
          </a:xfrm>
        </p:spPr>
        <p:txBody>
          <a:bodyPr/>
          <a:lstStyle/>
          <a:p>
            <a:fld id="{35ACA335-37F7-42C7-872A-92C3D7072F89}" type="slidenum">
              <a:rPr lang="ru-RU" smtClean="0"/>
              <a:pPr/>
              <a:t>17</a:t>
            </a:fld>
            <a:endParaRPr lang="ru-RU" dirty="0"/>
          </a:p>
        </p:txBody>
      </p:sp>
      <p:pic>
        <p:nvPicPr>
          <p:cNvPr id="7" name="Picutre 14">
            <a:extLst>
              <a:ext uri="{FF2B5EF4-FFF2-40B4-BE49-F238E27FC236}">
                <a16:creationId xmlns:a16="http://schemas.microsoft.com/office/drawing/2014/main" xmlns="" id="{5875DEAB-1BFD-4267-8F55-3EEB41093CC7}"/>
              </a:ext>
            </a:extLst>
          </p:cNvPr>
          <p:cNvPicPr/>
          <p:nvPr/>
        </p:nvPicPr>
        <p:blipFill>
          <a:blip r:embed="rId2"/>
          <a:stretch/>
        </p:blipFill>
        <p:spPr>
          <a:xfrm>
            <a:off x="827313" y="1074057"/>
            <a:ext cx="11030857" cy="5260073"/>
          </a:xfrm>
          <a:prstGeom prst="rect">
            <a:avLst/>
          </a:prstGeom>
        </p:spPr>
      </p:pic>
    </p:spTree>
    <p:extLst>
      <p:ext uri="{BB962C8B-B14F-4D97-AF65-F5344CB8AC3E}">
        <p14:creationId xmlns:p14="http://schemas.microsoft.com/office/powerpoint/2010/main" val="5806596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a:extLst>
              <a:ext uri="{FF2B5EF4-FFF2-40B4-BE49-F238E27FC236}">
                <a16:creationId xmlns:a16="http://schemas.microsoft.com/office/drawing/2014/main" xmlns="" id="{97B813E5-6B0C-4932-8790-6692737FCEA4}"/>
              </a:ext>
            </a:extLst>
          </p:cNvPr>
          <p:cNvSpPr>
            <a:spLocks noGrp="1"/>
          </p:cNvSpPr>
          <p:nvPr>
            <p:ph type="title"/>
          </p:nvPr>
        </p:nvSpPr>
        <p:spPr>
          <a:xfrm>
            <a:off x="1014390" y="-10244"/>
            <a:ext cx="10534651" cy="838199"/>
          </a:xfrm>
        </p:spPr>
        <p:txBody>
          <a:bodyPr>
            <a:normAutofit/>
          </a:bodyPr>
          <a:lstStyle/>
          <a:p>
            <a:pPr>
              <a:lnSpc>
                <a:spcPct val="107000"/>
              </a:lnSpc>
            </a:pPr>
            <a:r>
              <a:rPr lang="ru-RU" dirty="0">
                <a:latin typeface="Times New Roman" panose="02020603050405020304" pitchFamily="18" charset="0"/>
                <a:cs typeface="Times New Roman" panose="02020603050405020304" pitchFamily="18" charset="0"/>
              </a:rPr>
              <a:t>Вводим реквизиты юридического или физического лица</a:t>
            </a:r>
          </a:p>
        </p:txBody>
      </p:sp>
      <p:pic>
        <p:nvPicPr>
          <p:cNvPr id="7" name="Рисунок 6">
            <a:extLst>
              <a:ext uri="{FF2B5EF4-FFF2-40B4-BE49-F238E27FC236}">
                <a16:creationId xmlns:a16="http://schemas.microsoft.com/office/drawing/2014/main" xmlns="" id="{AC8D3CA4-3900-4760-A59C-DBB187F5DC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5657" y="1221281"/>
            <a:ext cx="9840686" cy="5360624"/>
          </a:xfrm>
          <a:prstGeom prst="rect">
            <a:avLst/>
          </a:prstGeom>
        </p:spPr>
      </p:pic>
    </p:spTree>
    <p:extLst>
      <p:ext uri="{BB962C8B-B14F-4D97-AF65-F5344CB8AC3E}">
        <p14:creationId xmlns:p14="http://schemas.microsoft.com/office/powerpoint/2010/main" val="24415964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19</a:t>
            </a:fld>
            <a:endParaRPr lang="ru-RU" dirty="0"/>
          </a:p>
        </p:txBody>
      </p:sp>
      <p:sp>
        <p:nvSpPr>
          <p:cNvPr id="3" name="Заголовок 2"/>
          <p:cNvSpPr>
            <a:spLocks noGrp="1"/>
          </p:cNvSpPr>
          <p:nvPr>
            <p:ph type="title"/>
          </p:nvPr>
        </p:nvSpPr>
        <p:spPr/>
        <p:txBody>
          <a:bodyPr>
            <a:normAutofit/>
          </a:bodyPr>
          <a:lstStyle/>
          <a:p>
            <a:pPr indent="450215">
              <a:lnSpc>
                <a:spcPct val="107000"/>
              </a:lnSpc>
              <a:spcAft>
                <a:spcPts val="0"/>
              </a:spcAft>
            </a:pPr>
            <a:r>
              <a:rPr lang="ru-RU" dirty="0">
                <a:latin typeface="Times New Roman" panose="02020603050405020304" pitchFamily="18" charset="0"/>
                <a:ea typeface="Calibri" panose="020F0502020204030204" pitchFamily="34" charset="0"/>
                <a:cs typeface="Times New Roman" panose="02020603050405020304" pitchFamily="18" charset="0"/>
              </a:rPr>
              <a:t>Условия использования материалов</a:t>
            </a:r>
            <a:endParaRPr lang="ru-RU" dirty="0"/>
          </a:p>
        </p:txBody>
      </p:sp>
      <p:pic>
        <p:nvPicPr>
          <p:cNvPr id="9" name="Рисунок 8">
            <a:extLst>
              <a:ext uri="{FF2B5EF4-FFF2-40B4-BE49-F238E27FC236}">
                <a16:creationId xmlns:a16="http://schemas.microsoft.com/office/drawing/2014/main" xmlns="" id="{16698D57-5F3E-4BF6-8A71-4BE6113C1C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0778" y="1119852"/>
            <a:ext cx="9797143" cy="5396840"/>
          </a:xfrm>
          <a:prstGeom prst="rect">
            <a:avLst/>
          </a:prstGeom>
        </p:spPr>
      </p:pic>
    </p:spTree>
    <p:extLst>
      <p:ext uri="{BB962C8B-B14F-4D97-AF65-F5344CB8AC3E}">
        <p14:creationId xmlns:p14="http://schemas.microsoft.com/office/powerpoint/2010/main" val="33161675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9C3AA7E9-A215-4BE8-A449-508CB6340D3A}"/>
              </a:ext>
            </a:extLst>
          </p:cNvPr>
          <p:cNvSpPr>
            <a:spLocks noGrp="1"/>
          </p:cNvSpPr>
          <p:nvPr>
            <p:ph type="sldNum" sz="quarter" idx="10"/>
          </p:nvPr>
        </p:nvSpPr>
        <p:spPr/>
        <p:txBody>
          <a:bodyPr/>
          <a:lstStyle/>
          <a:p>
            <a:fld id="{35ACA335-37F7-42C7-872A-92C3D7072F89}" type="slidenum">
              <a:rPr lang="ru-RU" smtClean="0"/>
              <a:pPr/>
              <a:t>2</a:t>
            </a:fld>
            <a:endParaRPr lang="ru-RU" dirty="0"/>
          </a:p>
        </p:txBody>
      </p:sp>
      <p:sp>
        <p:nvSpPr>
          <p:cNvPr id="3" name="Заголовок 2">
            <a:extLst>
              <a:ext uri="{FF2B5EF4-FFF2-40B4-BE49-F238E27FC236}">
                <a16:creationId xmlns:a16="http://schemas.microsoft.com/office/drawing/2014/main" xmlns="" id="{CAAD1B52-C406-4D2A-B69A-E14CB913C49E}"/>
              </a:ext>
            </a:extLst>
          </p:cNvPr>
          <p:cNvSpPr>
            <a:spLocks noGrp="1"/>
          </p:cNvSpPr>
          <p:nvPr>
            <p:ph type="title"/>
          </p:nvPr>
        </p:nvSpPr>
        <p:spPr/>
        <p:txBody>
          <a:bodyPr/>
          <a:lstStyle/>
          <a:p>
            <a:r>
              <a:rPr lang="ru-RU" dirty="0"/>
              <a:t>Геодезическая основа кадастра недвижимости</a:t>
            </a:r>
          </a:p>
        </p:txBody>
      </p:sp>
      <p:sp>
        <p:nvSpPr>
          <p:cNvPr id="4" name="Текст 3">
            <a:extLst>
              <a:ext uri="{FF2B5EF4-FFF2-40B4-BE49-F238E27FC236}">
                <a16:creationId xmlns:a16="http://schemas.microsoft.com/office/drawing/2014/main" xmlns="" id="{B8F0FA95-B6E7-47B1-89E2-B5D523DEE79F}"/>
              </a:ext>
            </a:extLst>
          </p:cNvPr>
          <p:cNvSpPr>
            <a:spLocks noGrp="1"/>
          </p:cNvSpPr>
          <p:nvPr>
            <p:ph type="body" sz="quarter" idx="11"/>
          </p:nvPr>
        </p:nvSpPr>
        <p:spPr>
          <a:xfrm>
            <a:off x="4281714" y="1103086"/>
            <a:ext cx="7437666" cy="5231045"/>
          </a:xfrm>
        </p:spPr>
        <p:txBody>
          <a:bodyPr>
            <a:normAutofit lnSpcReduction="10000"/>
          </a:bodyPr>
          <a:lstStyle/>
          <a:p>
            <a:pPr marL="0" indent="0">
              <a:lnSpc>
                <a:spcPct val="130000"/>
              </a:lnSpc>
              <a:buNone/>
            </a:pPr>
            <a:r>
              <a:rPr lang="ru-RU" dirty="0"/>
              <a:t>Геодезической основой ЕГРН являются </a:t>
            </a:r>
            <a:r>
              <a:rPr lang="ru-RU" b="1" dirty="0"/>
              <a:t>государственные геодезические сети</a:t>
            </a:r>
            <a:r>
              <a:rPr lang="ru-RU" dirty="0"/>
              <a:t>,  </a:t>
            </a:r>
            <a:r>
              <a:rPr lang="ru-RU" b="1" dirty="0"/>
              <a:t>геодезические сети </a:t>
            </a:r>
            <a:r>
              <a:rPr lang="ru-RU" sz="2800" b="1" dirty="0"/>
              <a:t>специального назначения</a:t>
            </a:r>
            <a:r>
              <a:rPr lang="ru-RU" sz="2800" dirty="0"/>
              <a:t>, </a:t>
            </a:r>
            <a:r>
              <a:rPr lang="ru-RU" sz="2800" b="1" dirty="0"/>
              <a:t>сети дифференциальных геодезических станций </a:t>
            </a:r>
          </a:p>
          <a:p>
            <a:pPr marL="0" indent="0">
              <a:lnSpc>
                <a:spcPct val="130000"/>
              </a:lnSpc>
              <a:buNone/>
            </a:pPr>
            <a:r>
              <a:rPr lang="ru-RU" sz="2800" dirty="0"/>
              <a:t>(ГГС, ГССН, СДГС) </a:t>
            </a:r>
          </a:p>
          <a:p>
            <a:pPr marL="0" indent="0">
              <a:lnSpc>
                <a:spcPct val="130000"/>
              </a:lnSpc>
              <a:buNone/>
            </a:pPr>
            <a:r>
              <a:rPr lang="ru-RU" sz="2800" dirty="0"/>
              <a:t>ст. 6 Федерального закона от 13.07.2015 № 218-ФЗ «О государственной регистрации недвижимости»</a:t>
            </a:r>
          </a:p>
        </p:txBody>
      </p:sp>
      <p:pic>
        <p:nvPicPr>
          <p:cNvPr id="8" name="Рисунок 7">
            <a:extLst>
              <a:ext uri="{FF2B5EF4-FFF2-40B4-BE49-F238E27FC236}">
                <a16:creationId xmlns:a16="http://schemas.microsoft.com/office/drawing/2014/main" xmlns="" id="{615E389C-B8C8-4990-B46B-970A3E98F1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2620" y="1373693"/>
            <a:ext cx="3504294" cy="4642197"/>
          </a:xfrm>
          <a:prstGeom prst="rect">
            <a:avLst/>
          </a:prstGeom>
        </p:spPr>
      </p:pic>
    </p:spTree>
    <p:extLst>
      <p:ext uri="{BB962C8B-B14F-4D97-AF65-F5344CB8AC3E}">
        <p14:creationId xmlns:p14="http://schemas.microsoft.com/office/powerpoint/2010/main" val="37160720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AAB0B597-A1AB-4C78-8E8D-2C7A36F59B8C}"/>
              </a:ext>
            </a:extLst>
          </p:cNvPr>
          <p:cNvSpPr>
            <a:spLocks noGrp="1"/>
          </p:cNvSpPr>
          <p:nvPr>
            <p:ph type="sldNum" sz="quarter" idx="10"/>
          </p:nvPr>
        </p:nvSpPr>
        <p:spPr/>
        <p:txBody>
          <a:bodyPr/>
          <a:lstStyle/>
          <a:p>
            <a:fld id="{35ACA335-37F7-42C7-872A-92C3D7072F89}" type="slidenum">
              <a:rPr lang="ru-RU" smtClean="0"/>
              <a:pPr/>
              <a:t>20</a:t>
            </a:fld>
            <a:endParaRPr lang="ru-RU" dirty="0"/>
          </a:p>
        </p:txBody>
      </p:sp>
      <p:sp>
        <p:nvSpPr>
          <p:cNvPr id="4" name="Текст 3">
            <a:extLst>
              <a:ext uri="{FF2B5EF4-FFF2-40B4-BE49-F238E27FC236}">
                <a16:creationId xmlns:a16="http://schemas.microsoft.com/office/drawing/2014/main" xmlns="" id="{913547C4-F6F4-4E80-9C4A-0812D68B42A0}"/>
              </a:ext>
            </a:extLst>
          </p:cNvPr>
          <p:cNvSpPr>
            <a:spLocks noGrp="1"/>
          </p:cNvSpPr>
          <p:nvPr>
            <p:ph type="body" sz="quarter" idx="11"/>
          </p:nvPr>
        </p:nvSpPr>
        <p:spPr>
          <a:xfrm>
            <a:off x="587377" y="1074057"/>
            <a:ext cx="8542109" cy="5486400"/>
          </a:xfrm>
        </p:spPr>
        <p:txBody>
          <a:bodyPr>
            <a:normAutofit/>
          </a:bodyPr>
          <a:lstStyle/>
          <a:p>
            <a:r>
              <a:rPr lang="ru-RU" sz="2800" dirty="0"/>
              <a:t>Управлением Росреестра по Ленинградской области проведен детальный анализ документов, предоставленных в орган регистрации прав в результате проведения кадастровых работ в области геодезии и картографии. Значительная часть типичных ошибок, допущенных кадастровыми инженерами при подготовке межевых и технических планов связана именно с геодезической частью работ. Нарушения выявляются в сведениях о геодезической основе, использованной при подготовке межевых и технических планов, в сведениях о средствах измерений, а также в сведениях о выполненных измерениях и расчетах.</a:t>
            </a:r>
            <a:endParaRPr lang="ru-RU" dirty="0"/>
          </a:p>
        </p:txBody>
      </p:sp>
      <p:pic>
        <p:nvPicPr>
          <p:cNvPr id="6" name="Рисунок 5">
            <a:extLst>
              <a:ext uri="{FF2B5EF4-FFF2-40B4-BE49-F238E27FC236}">
                <a16:creationId xmlns:a16="http://schemas.microsoft.com/office/drawing/2014/main" xmlns="" id="{56EA23B5-FFB2-4853-9833-71AD5DCB8CA4}"/>
              </a:ext>
            </a:extLst>
          </p:cNvPr>
          <p:cNvPicPr>
            <a:picLocks noChangeAspect="1"/>
          </p:cNvPicPr>
          <p:nvPr/>
        </p:nvPicPr>
        <p:blipFill>
          <a:blip r:embed="rId2"/>
          <a:stretch>
            <a:fillRect/>
          </a:stretch>
        </p:blipFill>
        <p:spPr>
          <a:xfrm>
            <a:off x="9268296" y="1084333"/>
            <a:ext cx="2290768" cy="2036238"/>
          </a:xfrm>
          <a:prstGeom prst="rect">
            <a:avLst/>
          </a:prstGeom>
        </p:spPr>
      </p:pic>
    </p:spTree>
    <p:extLst>
      <p:ext uri="{BB962C8B-B14F-4D97-AF65-F5344CB8AC3E}">
        <p14:creationId xmlns:p14="http://schemas.microsoft.com/office/powerpoint/2010/main" val="355095476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9AF311C6-694C-4725-B7E5-F56F6A1BF3FF}"/>
              </a:ext>
            </a:extLst>
          </p:cNvPr>
          <p:cNvSpPr>
            <a:spLocks noGrp="1"/>
          </p:cNvSpPr>
          <p:nvPr>
            <p:ph type="sldNum" sz="quarter" idx="10"/>
          </p:nvPr>
        </p:nvSpPr>
        <p:spPr/>
        <p:txBody>
          <a:bodyPr/>
          <a:lstStyle/>
          <a:p>
            <a:fld id="{35ACA335-37F7-42C7-872A-92C3D7072F89}" type="slidenum">
              <a:rPr lang="ru-RU" smtClean="0"/>
              <a:pPr/>
              <a:t>21</a:t>
            </a:fld>
            <a:endParaRPr lang="ru-RU" dirty="0"/>
          </a:p>
        </p:txBody>
      </p:sp>
      <p:sp>
        <p:nvSpPr>
          <p:cNvPr id="3" name="Заголовок 2">
            <a:extLst>
              <a:ext uri="{FF2B5EF4-FFF2-40B4-BE49-F238E27FC236}">
                <a16:creationId xmlns:a16="http://schemas.microsoft.com/office/drawing/2014/main" xmlns="" id="{32ED975A-E268-4BFC-AE1D-BF85C2A27183}"/>
              </a:ext>
            </a:extLst>
          </p:cNvPr>
          <p:cNvSpPr>
            <a:spLocks noGrp="1"/>
          </p:cNvSpPr>
          <p:nvPr>
            <p:ph type="title"/>
          </p:nvPr>
        </p:nvSpPr>
        <p:spPr/>
        <p:txBody>
          <a:bodyPr>
            <a:normAutofit fontScale="90000"/>
          </a:bodyPr>
          <a:lstStyle/>
          <a:p>
            <a:r>
              <a:rPr lang="ru-RU" sz="2400" dirty="0"/>
              <a:t>ТИПИЧНЫЕ ОШИБКИ, ДОПУСКАЕМЫЕ КАДАСТРОВЫМИ ИНЖЕНЕРАМИ ПРИ ЗАПОЛНЕНИИ ФОРМ МЕЖЕВЫХ И ТЕХНИЧЕСКИХ ПЛАНОВ</a:t>
            </a:r>
            <a:endParaRPr lang="ru-RU" dirty="0"/>
          </a:p>
        </p:txBody>
      </p:sp>
      <p:sp>
        <p:nvSpPr>
          <p:cNvPr id="4" name="Текст 3">
            <a:extLst>
              <a:ext uri="{FF2B5EF4-FFF2-40B4-BE49-F238E27FC236}">
                <a16:creationId xmlns:a16="http://schemas.microsoft.com/office/drawing/2014/main" xmlns="" id="{01D8D6EA-CAA2-481A-9284-0D2C8F0B8A88}"/>
              </a:ext>
            </a:extLst>
          </p:cNvPr>
          <p:cNvSpPr>
            <a:spLocks noGrp="1"/>
          </p:cNvSpPr>
          <p:nvPr>
            <p:ph type="body" sz="quarter" idx="11"/>
          </p:nvPr>
        </p:nvSpPr>
        <p:spPr>
          <a:xfrm>
            <a:off x="587377" y="1074057"/>
            <a:ext cx="10899775" cy="5260073"/>
          </a:xfrm>
        </p:spPr>
        <p:txBody>
          <a:bodyPr>
            <a:normAutofit fontScale="85000" lnSpcReduction="20000"/>
          </a:bodyPr>
          <a:lstStyle/>
          <a:p>
            <a:pPr marL="0" indent="0" algn="just">
              <a:buNone/>
            </a:pPr>
            <a:r>
              <a:rPr lang="ru-RU" dirty="0"/>
              <a:t>— указываются недостоверные сведения о системе координат, в которой выполнялись кадастровые работы; </a:t>
            </a:r>
          </a:p>
          <a:p>
            <a:pPr marL="0" indent="0" algn="just">
              <a:buNone/>
            </a:pPr>
            <a:r>
              <a:rPr lang="ru-RU" dirty="0"/>
              <a:t>— указываются недостоверные сведения о классе геодезической сети; </a:t>
            </a:r>
          </a:p>
          <a:p>
            <a:pPr marL="0" indent="0" algn="just">
              <a:buNone/>
            </a:pPr>
            <a:r>
              <a:rPr lang="ru-RU" dirty="0"/>
              <a:t>— указываются недостоверные сведения о координатах геодезического пункта; </a:t>
            </a:r>
          </a:p>
          <a:p>
            <a:pPr marL="0" indent="0" algn="just">
              <a:buNone/>
            </a:pPr>
            <a:r>
              <a:rPr lang="ru-RU" dirty="0"/>
              <a:t>— указываются приборы (инструменты) не соответствующие выбранному методу определения координат характерных точек границ объекта недвижимости; </a:t>
            </a:r>
          </a:p>
          <a:p>
            <a:pPr marL="0" indent="0" algn="just">
              <a:buNone/>
            </a:pPr>
            <a:r>
              <a:rPr lang="ru-RU" dirty="0"/>
              <a:t>— указываются некорректные формулы, примененные для расчета средней квадратической погрешности, либо формулы, примененные для расчета средней квадратической погрешности не указаны; </a:t>
            </a:r>
          </a:p>
          <a:p>
            <a:pPr marL="0" indent="0" algn="just">
              <a:buNone/>
            </a:pPr>
            <a:r>
              <a:rPr lang="ru-RU" dirty="0"/>
              <a:t>— неверно составляются схемы геодезических </a:t>
            </a:r>
            <a:r>
              <a:rPr lang="ru-RU" dirty="0" smtClean="0"/>
              <a:t>построений; </a:t>
            </a:r>
            <a:endParaRPr lang="ru-RU" dirty="0"/>
          </a:p>
          <a:p>
            <a:pPr marL="0" indent="0" algn="just">
              <a:buNone/>
            </a:pPr>
            <a:r>
              <a:rPr lang="ru-RU" dirty="0"/>
              <a:t>— в отношении использованных при подготовке межевого плана сведений о геодезической основе для пунктов государственной геодезической сети не указываются сведения о наименовании и реквизитах документа о предоставлении координат геодезических пунктов, использованных при проведении кадастровых работ.</a:t>
            </a:r>
          </a:p>
          <a:p>
            <a:endParaRPr lang="ru-RU" dirty="0"/>
          </a:p>
        </p:txBody>
      </p:sp>
    </p:spTree>
    <p:extLst>
      <p:ext uri="{BB962C8B-B14F-4D97-AF65-F5344CB8AC3E}">
        <p14:creationId xmlns:p14="http://schemas.microsoft.com/office/powerpoint/2010/main" val="342126970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22</a:t>
            </a:fld>
            <a:endParaRPr lang="ru-RU" dirty="0"/>
          </a:p>
        </p:txBody>
      </p:sp>
      <p:sp>
        <p:nvSpPr>
          <p:cNvPr id="3" name="Заголовок 2"/>
          <p:cNvSpPr>
            <a:spLocks noGrp="1"/>
          </p:cNvSpPr>
          <p:nvPr>
            <p:ph type="title"/>
          </p:nvPr>
        </p:nvSpPr>
        <p:spPr/>
        <p:txBody>
          <a:bodyPr>
            <a:normAutofit/>
          </a:bodyPr>
          <a:lstStyle/>
          <a:p>
            <a:r>
              <a:rPr lang="ru-RU" dirty="0"/>
              <a:t>Реквизит 1 раздела «Исходные данные» </a:t>
            </a:r>
          </a:p>
        </p:txBody>
      </p:sp>
      <p:sp>
        <p:nvSpPr>
          <p:cNvPr id="9" name="TextBox 8">
            <a:extLst>
              <a:ext uri="{FF2B5EF4-FFF2-40B4-BE49-F238E27FC236}">
                <a16:creationId xmlns:a16="http://schemas.microsoft.com/office/drawing/2014/main" xmlns="" id="{BD50940C-E6B3-444E-82C9-62E0B73223AC}"/>
              </a:ext>
            </a:extLst>
          </p:cNvPr>
          <p:cNvSpPr txBox="1"/>
          <p:nvPr/>
        </p:nvSpPr>
        <p:spPr>
          <a:xfrm>
            <a:off x="525236" y="4256756"/>
            <a:ext cx="11408228" cy="1938992"/>
          </a:xfrm>
          <a:prstGeom prst="rect">
            <a:avLst/>
          </a:prstGeom>
          <a:noFill/>
        </p:spPr>
        <p:txBody>
          <a:bodyPr wrap="square">
            <a:spAutoFit/>
          </a:bodyPr>
          <a:lstStyle/>
          <a:p>
            <a:pPr marL="342900" indent="-342900">
              <a:buFont typeface="Wingdings" panose="05000000000000000000" pitchFamily="2" charset="2"/>
              <a:buChar char="Ø"/>
            </a:pPr>
            <a:r>
              <a:rPr lang="ru-RU" sz="2000" dirty="0">
                <a:solidFill>
                  <a:srgbClr val="002060"/>
                </a:solidFill>
              </a:rPr>
              <a:t>в отношении пунктов государственной геодезической сети - наименование и реквизиты документа о предоставлении данных, находящихся в федеральном фонде пространственных данных;</a:t>
            </a:r>
          </a:p>
          <a:p>
            <a:pPr marL="342900" indent="-342900">
              <a:buFont typeface="Wingdings" panose="05000000000000000000" pitchFamily="2" charset="2"/>
              <a:buChar char="Ø"/>
            </a:pPr>
            <a:r>
              <a:rPr lang="ru-RU" sz="2000" dirty="0">
                <a:solidFill>
                  <a:srgbClr val="002060"/>
                </a:solidFill>
              </a:rPr>
              <a:t>в отношении пунктов сетей дифференциальных геодезических станций - наименование и реквизиты документа о предоставлении доступа к измерительной и корректирующей информации.</a:t>
            </a:r>
          </a:p>
        </p:txBody>
      </p:sp>
      <p:pic>
        <p:nvPicPr>
          <p:cNvPr id="14" name="Рисунок 13">
            <a:extLst>
              <a:ext uri="{FF2B5EF4-FFF2-40B4-BE49-F238E27FC236}">
                <a16:creationId xmlns:a16="http://schemas.microsoft.com/office/drawing/2014/main" xmlns="" id="{648CCE27-D8E0-48D4-B252-2BB4EE81A2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6440" y="1124786"/>
            <a:ext cx="11343674" cy="2511558"/>
          </a:xfrm>
          <a:prstGeom prst="rect">
            <a:avLst/>
          </a:prstGeom>
        </p:spPr>
      </p:pic>
    </p:spTree>
    <p:extLst>
      <p:ext uri="{BB962C8B-B14F-4D97-AF65-F5344CB8AC3E}">
        <p14:creationId xmlns:p14="http://schemas.microsoft.com/office/powerpoint/2010/main" val="9800652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45C538D2-8E2E-4320-AFCE-8518EF34242E}"/>
              </a:ext>
            </a:extLst>
          </p:cNvPr>
          <p:cNvSpPr>
            <a:spLocks noGrp="1"/>
          </p:cNvSpPr>
          <p:nvPr>
            <p:ph type="sldNum" sz="quarter" idx="10"/>
          </p:nvPr>
        </p:nvSpPr>
        <p:spPr/>
        <p:txBody>
          <a:bodyPr/>
          <a:lstStyle/>
          <a:p>
            <a:fld id="{35ACA335-37F7-42C7-872A-92C3D7072F89}" type="slidenum">
              <a:rPr lang="ru-RU" smtClean="0"/>
              <a:pPr/>
              <a:t>23</a:t>
            </a:fld>
            <a:endParaRPr lang="ru-RU" dirty="0"/>
          </a:p>
        </p:txBody>
      </p:sp>
      <p:sp>
        <p:nvSpPr>
          <p:cNvPr id="3" name="Заголовок 2">
            <a:extLst>
              <a:ext uri="{FF2B5EF4-FFF2-40B4-BE49-F238E27FC236}">
                <a16:creationId xmlns:a16="http://schemas.microsoft.com/office/drawing/2014/main" xmlns="" id="{81D0D325-ECC6-4A62-BCF6-F6355D05E5B0}"/>
              </a:ext>
            </a:extLst>
          </p:cNvPr>
          <p:cNvSpPr>
            <a:spLocks noGrp="1"/>
          </p:cNvSpPr>
          <p:nvPr>
            <p:ph type="title"/>
          </p:nvPr>
        </p:nvSpPr>
        <p:spPr/>
        <p:txBody>
          <a:bodyPr>
            <a:normAutofit/>
          </a:bodyPr>
          <a:lstStyle/>
          <a:p>
            <a:r>
              <a:rPr lang="ru-RU" sz="2400" dirty="0"/>
              <a:t>Геодезическое обоснование кадастровых работ при определении координат непосредственно от пунктов ГГС</a:t>
            </a:r>
            <a:endParaRPr lang="ru-RU" dirty="0"/>
          </a:p>
        </p:txBody>
      </p:sp>
      <p:sp>
        <p:nvSpPr>
          <p:cNvPr id="4" name="Текст 3">
            <a:extLst>
              <a:ext uri="{FF2B5EF4-FFF2-40B4-BE49-F238E27FC236}">
                <a16:creationId xmlns:a16="http://schemas.microsoft.com/office/drawing/2014/main" xmlns="" id="{D1DC0ABA-A281-4D68-9932-9AB38F51A054}"/>
              </a:ext>
            </a:extLst>
          </p:cNvPr>
          <p:cNvSpPr>
            <a:spLocks noGrp="1"/>
          </p:cNvSpPr>
          <p:nvPr>
            <p:ph type="body" sz="quarter" idx="11"/>
          </p:nvPr>
        </p:nvSpPr>
        <p:spPr>
          <a:xfrm>
            <a:off x="9296845" y="825440"/>
            <a:ext cx="2326709" cy="375422"/>
          </a:xfrm>
        </p:spPr>
        <p:txBody>
          <a:bodyPr>
            <a:normAutofit/>
          </a:bodyPr>
          <a:lstStyle/>
          <a:p>
            <a:r>
              <a:rPr lang="ru-RU" sz="1800" dirty="0"/>
              <a:t>Пример заполнения</a:t>
            </a:r>
          </a:p>
        </p:txBody>
      </p:sp>
      <p:graphicFrame>
        <p:nvGraphicFramePr>
          <p:cNvPr id="5" name="Объект 5">
            <a:extLst>
              <a:ext uri="{FF2B5EF4-FFF2-40B4-BE49-F238E27FC236}">
                <a16:creationId xmlns:a16="http://schemas.microsoft.com/office/drawing/2014/main" xmlns="" id="{7E97B214-8DAD-4CAC-9736-E3A3B4060F62}"/>
              </a:ext>
            </a:extLst>
          </p:cNvPr>
          <p:cNvGraphicFramePr>
            <a:graphicFrameLocks noGrp="1"/>
          </p:cNvGraphicFramePr>
          <p:nvPr>
            <p:ph idx="1"/>
            <p:extLst>
              <p:ext uri="{D42A27DB-BD31-4B8C-83A1-F6EECF244321}">
                <p14:modId xmlns:p14="http://schemas.microsoft.com/office/powerpoint/2010/main" val="2994927715"/>
              </p:ext>
            </p:extLst>
          </p:nvPr>
        </p:nvGraphicFramePr>
        <p:xfrm>
          <a:off x="568445" y="1188099"/>
          <a:ext cx="11055109" cy="5328593"/>
        </p:xfrm>
        <a:graphic>
          <a:graphicData uri="http://schemas.openxmlformats.org/drawingml/2006/table">
            <a:tbl>
              <a:tblPr firstRow="1" firstCol="1" bandRow="1">
                <a:tableStyleId>{5C22544A-7EE6-4342-B048-85BDC9FD1C3A}</a:tableStyleId>
              </a:tblPr>
              <a:tblGrid>
                <a:gridCol w="830102">
                  <a:extLst>
                    <a:ext uri="{9D8B030D-6E8A-4147-A177-3AD203B41FA5}">
                      <a16:colId xmlns:a16="http://schemas.microsoft.com/office/drawing/2014/main" xmlns="" val="20000"/>
                    </a:ext>
                  </a:extLst>
                </a:gridCol>
                <a:gridCol w="1823857">
                  <a:extLst>
                    <a:ext uri="{9D8B030D-6E8A-4147-A177-3AD203B41FA5}">
                      <a16:colId xmlns:a16="http://schemas.microsoft.com/office/drawing/2014/main" xmlns="" val="20001"/>
                    </a:ext>
                  </a:extLst>
                </a:gridCol>
                <a:gridCol w="1388886">
                  <a:extLst>
                    <a:ext uri="{9D8B030D-6E8A-4147-A177-3AD203B41FA5}">
                      <a16:colId xmlns:a16="http://schemas.microsoft.com/office/drawing/2014/main" xmlns="" val="20002"/>
                    </a:ext>
                  </a:extLst>
                </a:gridCol>
                <a:gridCol w="941014">
                  <a:extLst>
                    <a:ext uri="{9D8B030D-6E8A-4147-A177-3AD203B41FA5}">
                      <a16:colId xmlns:a16="http://schemas.microsoft.com/office/drawing/2014/main" xmlns="" val="20003"/>
                    </a:ext>
                  </a:extLst>
                </a:gridCol>
                <a:gridCol w="1239214">
                  <a:extLst>
                    <a:ext uri="{9D8B030D-6E8A-4147-A177-3AD203B41FA5}">
                      <a16:colId xmlns:a16="http://schemas.microsoft.com/office/drawing/2014/main" xmlns="" val="20004"/>
                    </a:ext>
                  </a:extLst>
                </a:gridCol>
                <a:gridCol w="1476096">
                  <a:extLst>
                    <a:ext uri="{9D8B030D-6E8A-4147-A177-3AD203B41FA5}">
                      <a16:colId xmlns:a16="http://schemas.microsoft.com/office/drawing/2014/main" xmlns="" val="20005"/>
                    </a:ext>
                  </a:extLst>
                </a:gridCol>
                <a:gridCol w="1090548">
                  <a:extLst>
                    <a:ext uri="{9D8B030D-6E8A-4147-A177-3AD203B41FA5}">
                      <a16:colId xmlns:a16="http://schemas.microsoft.com/office/drawing/2014/main" xmlns="" val="20006"/>
                    </a:ext>
                  </a:extLst>
                </a:gridCol>
                <a:gridCol w="996772">
                  <a:extLst>
                    <a:ext uri="{9D8B030D-6E8A-4147-A177-3AD203B41FA5}">
                      <a16:colId xmlns:a16="http://schemas.microsoft.com/office/drawing/2014/main" xmlns="" val="20007"/>
                    </a:ext>
                  </a:extLst>
                </a:gridCol>
                <a:gridCol w="1268620">
                  <a:extLst>
                    <a:ext uri="{9D8B030D-6E8A-4147-A177-3AD203B41FA5}">
                      <a16:colId xmlns:a16="http://schemas.microsoft.com/office/drawing/2014/main" xmlns="" val="20008"/>
                    </a:ext>
                  </a:extLst>
                </a:gridCol>
              </a:tblGrid>
              <a:tr h="335520">
                <a:tc>
                  <a:txBody>
                    <a:bodyPr/>
                    <a:lstStyle/>
                    <a:p>
                      <a:pPr algn="just">
                        <a:lnSpc>
                          <a:spcPct val="107000"/>
                        </a:lnSpc>
                        <a:spcAft>
                          <a:spcPts val="0"/>
                        </a:spcAft>
                      </a:pPr>
                      <a:r>
                        <a:rPr lang="ru-RU" sz="1300" dirty="0">
                          <a:effectLst/>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gridSpan="8">
                  <a:txBody>
                    <a:bodyPr/>
                    <a:lstStyle/>
                    <a:p>
                      <a:pPr algn="just">
                        <a:lnSpc>
                          <a:spcPct val="107000"/>
                        </a:lnSpc>
                        <a:spcAft>
                          <a:spcPts val="0"/>
                        </a:spcAft>
                      </a:pPr>
                      <a:r>
                        <a:rPr lang="ru-RU" sz="1100" dirty="0">
                          <a:effectLst/>
                        </a:rPr>
                        <a:t>Сведения о пунктах геодезической сети и средствах измерений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b"/>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0"/>
                  </a:ext>
                </a:extLst>
              </a:tr>
              <a:tr h="335520">
                <a:tc>
                  <a:txBody>
                    <a:bodyPr/>
                    <a:lstStyle/>
                    <a:p>
                      <a:pPr algn="just">
                        <a:lnSpc>
                          <a:spcPct val="107000"/>
                        </a:lnSpc>
                        <a:spcAft>
                          <a:spcPts val="0"/>
                        </a:spcAft>
                      </a:pPr>
                      <a:r>
                        <a:rPr lang="ru-RU" sz="1300">
                          <a:effectLst/>
                        </a:rPr>
                        <a:t>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gridSpan="8">
                  <a:txBody>
                    <a:bodyPr/>
                    <a:lstStyle/>
                    <a:p>
                      <a:pPr algn="just">
                        <a:lnSpc>
                          <a:spcPct val="107000"/>
                        </a:lnSpc>
                        <a:spcAft>
                          <a:spcPts val="0"/>
                        </a:spcAft>
                      </a:pPr>
                      <a:r>
                        <a:rPr lang="ru-RU" sz="1100">
                          <a:effectLst/>
                        </a:rPr>
                        <a:t>1. Сведения о пунктах геодезической сети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1"/>
                  </a:ext>
                </a:extLst>
              </a:tr>
              <a:tr h="487321">
                <a:tc rowSpan="3">
                  <a:txBody>
                    <a:bodyPr/>
                    <a:lstStyle/>
                    <a:p>
                      <a:pPr algn="ctr">
                        <a:lnSpc>
                          <a:spcPct val="107000"/>
                        </a:lnSpc>
                        <a:spcAft>
                          <a:spcPts val="0"/>
                        </a:spcAft>
                      </a:pPr>
                      <a:r>
                        <a:rPr lang="ru-RU" sz="1100" dirty="0">
                          <a:effectLst/>
                        </a:rPr>
                        <a:t>№ </a:t>
                      </a:r>
                    </a:p>
                    <a:p>
                      <a:pPr algn="ctr">
                        <a:lnSpc>
                          <a:spcPct val="107000"/>
                        </a:lnSpc>
                        <a:spcAft>
                          <a:spcPts val="0"/>
                        </a:spcAft>
                      </a:pPr>
                      <a:r>
                        <a:rPr lang="ru-RU" sz="1100" dirty="0">
                          <a:effectLst/>
                        </a:rPr>
                        <a:t>п/п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rowSpan="3">
                  <a:txBody>
                    <a:bodyPr/>
                    <a:lstStyle/>
                    <a:p>
                      <a:pPr algn="ctr">
                        <a:lnSpc>
                          <a:spcPct val="107000"/>
                        </a:lnSpc>
                        <a:spcAft>
                          <a:spcPts val="0"/>
                        </a:spcAft>
                      </a:pPr>
                      <a:r>
                        <a:rPr lang="ru-RU" sz="1100" dirty="0">
                          <a:effectLst/>
                        </a:rPr>
                        <a:t>Вид геодезической сети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rowSpan="3">
                  <a:txBody>
                    <a:bodyPr/>
                    <a:lstStyle/>
                    <a:p>
                      <a:pPr algn="ctr">
                        <a:lnSpc>
                          <a:spcPct val="107000"/>
                        </a:lnSpc>
                        <a:spcAft>
                          <a:spcPts val="0"/>
                        </a:spcAft>
                      </a:pPr>
                      <a:r>
                        <a:rPr lang="ru-RU" sz="1100" dirty="0">
                          <a:effectLst/>
                        </a:rPr>
                        <a:t>Название пункта </a:t>
                      </a:r>
                    </a:p>
                    <a:p>
                      <a:pPr algn="ctr">
                        <a:lnSpc>
                          <a:spcPct val="107000"/>
                        </a:lnSpc>
                        <a:spcAft>
                          <a:spcPts val="0"/>
                        </a:spcAft>
                      </a:pPr>
                      <a:r>
                        <a:rPr lang="ru-RU" sz="1100" dirty="0">
                          <a:effectLst/>
                        </a:rPr>
                        <a:t>геодезической сети и тип знака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rowSpan="3">
                  <a:txBody>
                    <a:bodyPr/>
                    <a:lstStyle/>
                    <a:p>
                      <a:pPr algn="ctr">
                        <a:lnSpc>
                          <a:spcPct val="107000"/>
                        </a:lnSpc>
                        <a:spcAft>
                          <a:spcPts val="0"/>
                        </a:spcAft>
                      </a:pPr>
                      <a:r>
                        <a:rPr lang="ru-RU" sz="1100" dirty="0">
                          <a:effectLst/>
                        </a:rPr>
                        <a:t>Система координат пункта </a:t>
                      </a:r>
                    </a:p>
                    <a:p>
                      <a:pPr algn="ctr">
                        <a:lnSpc>
                          <a:spcPct val="107000"/>
                        </a:lnSpc>
                        <a:spcAft>
                          <a:spcPts val="0"/>
                        </a:spcAft>
                      </a:pPr>
                      <a:r>
                        <a:rPr lang="ru-RU" sz="1100" dirty="0" err="1">
                          <a:effectLst/>
                        </a:rPr>
                        <a:t>геодезичес</a:t>
                      </a:r>
                      <a:r>
                        <a:rPr lang="ru-RU" sz="1100" dirty="0">
                          <a:effectLst/>
                        </a:rPr>
                        <a:t> кой сети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rowSpan="2" gridSpan="2">
                  <a:txBody>
                    <a:bodyPr/>
                    <a:lstStyle/>
                    <a:p>
                      <a:pPr algn="ctr">
                        <a:lnSpc>
                          <a:spcPct val="107000"/>
                        </a:lnSpc>
                        <a:spcAft>
                          <a:spcPts val="0"/>
                        </a:spcAft>
                      </a:pPr>
                      <a:r>
                        <a:rPr lang="ru-RU" sz="1100" dirty="0">
                          <a:effectLst/>
                        </a:rPr>
                        <a:t> </a:t>
                      </a:r>
                    </a:p>
                    <a:p>
                      <a:pPr algn="ctr">
                        <a:lnSpc>
                          <a:spcPct val="107000"/>
                        </a:lnSpc>
                        <a:spcAft>
                          <a:spcPts val="0"/>
                        </a:spcAft>
                      </a:pPr>
                      <a:r>
                        <a:rPr lang="ru-RU" sz="1100" dirty="0">
                          <a:effectLst/>
                        </a:rPr>
                        <a:t>Координаты  пункта</a:t>
                      </a:r>
                      <a:r>
                        <a:rPr lang="ru-RU" sz="1100" baseline="30000" dirty="0">
                          <a:effectLst/>
                        </a:rPr>
                        <a:t>6</a:t>
                      </a:r>
                      <a:r>
                        <a:rPr lang="ru-RU" sz="1100" dirty="0">
                          <a:effectLst/>
                        </a:rPr>
                        <a:t>, м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rowSpan="2" hMerge="1">
                  <a:txBody>
                    <a:bodyPr/>
                    <a:lstStyle/>
                    <a:p>
                      <a:endParaRPr lang="ru-RU"/>
                    </a:p>
                  </a:txBody>
                  <a:tcPr/>
                </a:tc>
                <a:tc gridSpan="3">
                  <a:txBody>
                    <a:bodyPr/>
                    <a:lstStyle/>
                    <a:p>
                      <a:pPr algn="ctr">
                        <a:lnSpc>
                          <a:spcPct val="107000"/>
                        </a:lnSpc>
                        <a:spcAft>
                          <a:spcPts val="0"/>
                        </a:spcAft>
                      </a:pPr>
                      <a:r>
                        <a:rPr lang="ru-RU" sz="1100" dirty="0">
                          <a:effectLst/>
                        </a:rPr>
                        <a:t>Дата обследования  «11» октября 2021 г.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2"/>
                  </a:ext>
                </a:extLst>
              </a:tr>
              <a:tr h="28118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gridSpan="2" vMerge="1">
                  <a:txBody>
                    <a:bodyPr/>
                    <a:lstStyle/>
                    <a:p>
                      <a:endParaRPr lang="ru-RU"/>
                    </a:p>
                  </a:txBody>
                  <a:tcPr/>
                </a:tc>
                <a:tc hMerge="1" vMerge="1">
                  <a:txBody>
                    <a:bodyPr/>
                    <a:lstStyle/>
                    <a:p>
                      <a:endParaRPr lang="ru-RU"/>
                    </a:p>
                  </a:txBody>
                  <a:tcPr/>
                </a:tc>
                <a:tc gridSpan="3">
                  <a:txBody>
                    <a:bodyPr/>
                    <a:lstStyle/>
                    <a:p>
                      <a:pPr algn="ctr">
                        <a:lnSpc>
                          <a:spcPct val="107000"/>
                        </a:lnSpc>
                        <a:spcAft>
                          <a:spcPts val="0"/>
                        </a:spcAft>
                      </a:pPr>
                      <a:r>
                        <a:rPr lang="ru-RU" sz="1100" dirty="0">
                          <a:effectLst/>
                        </a:rPr>
                        <a:t>Сведения о состоянии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3"/>
                  </a:ext>
                </a:extLst>
              </a:tr>
              <a:tr h="90196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07000"/>
                        </a:lnSpc>
                        <a:spcAft>
                          <a:spcPts val="0"/>
                        </a:spcAft>
                      </a:pPr>
                      <a:r>
                        <a:rPr lang="ru-RU" sz="1100" dirty="0">
                          <a:effectLst/>
                        </a:rPr>
                        <a:t>X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ctr">
                        <a:lnSpc>
                          <a:spcPct val="107000"/>
                        </a:lnSpc>
                        <a:spcAft>
                          <a:spcPts val="0"/>
                        </a:spcAft>
                      </a:pPr>
                      <a:r>
                        <a:rPr lang="ru-RU" sz="1100" dirty="0">
                          <a:effectLst/>
                        </a:rPr>
                        <a:t>Y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ctr">
                        <a:lnSpc>
                          <a:spcPct val="107000"/>
                        </a:lnSpc>
                        <a:spcAft>
                          <a:spcPts val="0"/>
                        </a:spcAft>
                      </a:pPr>
                      <a:r>
                        <a:rPr lang="ru-RU" sz="1100" dirty="0">
                          <a:effectLst/>
                        </a:rPr>
                        <a:t>наружного знака пункта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dirty="0">
                          <a:effectLst/>
                        </a:rPr>
                        <a:t>центра пункта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dirty="0">
                          <a:effectLst/>
                        </a:rPr>
                        <a:t>марки </a:t>
                      </a:r>
                    </a:p>
                    <a:p>
                      <a:pPr algn="ctr">
                        <a:lnSpc>
                          <a:spcPct val="107000"/>
                        </a:lnSpc>
                        <a:spcAft>
                          <a:spcPts val="0"/>
                        </a:spcAft>
                      </a:pPr>
                      <a:r>
                        <a:rPr lang="ru-RU" sz="1100" dirty="0">
                          <a:effectLst/>
                        </a:rPr>
                        <a:t>центра пункта </a:t>
                      </a:r>
                    </a:p>
                    <a:p>
                      <a:pPr algn="ctr">
                        <a:lnSpc>
                          <a:spcPct val="107000"/>
                        </a:lnSpc>
                        <a:spcAft>
                          <a:spcPts val="0"/>
                        </a:spcAft>
                      </a:pPr>
                      <a:r>
                        <a:rPr lang="ru-RU" sz="1100" dirty="0">
                          <a:effectLst/>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extLst>
                  <a:ext uri="{0D108BD9-81ED-4DB2-BD59-A6C34878D82A}">
                    <a16:rowId xmlns:a16="http://schemas.microsoft.com/office/drawing/2014/main" xmlns="" val="10004"/>
                  </a:ext>
                </a:extLst>
              </a:tr>
              <a:tr h="281188">
                <a:tc>
                  <a:txBody>
                    <a:bodyPr/>
                    <a:lstStyle/>
                    <a:p>
                      <a:pPr algn="ctr">
                        <a:lnSpc>
                          <a:spcPct val="107000"/>
                        </a:lnSpc>
                        <a:spcAft>
                          <a:spcPts val="0"/>
                        </a:spcAft>
                      </a:pPr>
                      <a:r>
                        <a:rPr lang="ru-RU" sz="1100" dirty="0">
                          <a:effectLst/>
                        </a:rPr>
                        <a:t>1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dirty="0">
                          <a:effectLst/>
                        </a:rPr>
                        <a:t>2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dirty="0">
                          <a:effectLst/>
                        </a:rPr>
                        <a:t>3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dirty="0">
                          <a:effectLst/>
                        </a:rPr>
                        <a:t>4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dirty="0">
                          <a:effectLst/>
                        </a:rPr>
                        <a:t>5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a:effectLst/>
                        </a:rPr>
                        <a:t>6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a:effectLst/>
                        </a:rPr>
                        <a:t>7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a:effectLst/>
                        </a:rPr>
                        <a:t>8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ctr">
                        <a:lnSpc>
                          <a:spcPct val="107000"/>
                        </a:lnSpc>
                        <a:spcAft>
                          <a:spcPts val="0"/>
                        </a:spcAft>
                      </a:pPr>
                      <a:r>
                        <a:rPr lang="ru-RU" sz="1100" dirty="0">
                          <a:effectLst/>
                        </a:rPr>
                        <a:t>9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extLst>
                  <a:ext uri="{0D108BD9-81ED-4DB2-BD59-A6C34878D82A}">
                    <a16:rowId xmlns:a16="http://schemas.microsoft.com/office/drawing/2014/main" xmlns="" val="10005"/>
                  </a:ext>
                </a:extLst>
              </a:tr>
              <a:tr h="901964">
                <a:tc>
                  <a:txBody>
                    <a:bodyPr/>
                    <a:lstStyle/>
                    <a:p>
                      <a:pPr algn="ctr">
                        <a:lnSpc>
                          <a:spcPct val="107000"/>
                        </a:lnSpc>
                        <a:spcAft>
                          <a:spcPts val="0"/>
                        </a:spcAft>
                      </a:pPr>
                      <a:r>
                        <a:rPr lang="ru-RU" sz="1100" dirty="0">
                          <a:effectLst/>
                        </a:rPr>
                        <a:t>1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Государственн</a:t>
                      </a:r>
                    </a:p>
                    <a:p>
                      <a:pPr algn="just">
                        <a:lnSpc>
                          <a:spcPct val="107000"/>
                        </a:lnSpc>
                        <a:spcAft>
                          <a:spcPts val="0"/>
                        </a:spcAft>
                      </a:pPr>
                      <a:r>
                        <a:rPr lang="ru-RU" sz="1100">
                          <a:effectLst/>
                        </a:rPr>
                        <a:t>ая геодезическая сеть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Протасово, пир. 6,0 м.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МСК 50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101 519,87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dirty="0">
                          <a:effectLst/>
                        </a:rPr>
                        <a:t>34 844,77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dirty="0">
                          <a:effectLst/>
                        </a:rPr>
                        <a:t>Утрачен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dirty="0">
                          <a:effectLst/>
                        </a:rPr>
                        <a:t>Сохранился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dirty="0">
                          <a:effectLst/>
                        </a:rPr>
                        <a:t>Сохранился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extLst>
                  <a:ext uri="{0D108BD9-81ED-4DB2-BD59-A6C34878D82A}">
                    <a16:rowId xmlns:a16="http://schemas.microsoft.com/office/drawing/2014/main" xmlns="" val="10006"/>
                  </a:ext>
                </a:extLst>
              </a:tr>
              <a:tr h="901964">
                <a:tc>
                  <a:txBody>
                    <a:bodyPr/>
                    <a:lstStyle/>
                    <a:p>
                      <a:pPr algn="ctr">
                        <a:lnSpc>
                          <a:spcPct val="107000"/>
                        </a:lnSpc>
                        <a:spcAft>
                          <a:spcPts val="0"/>
                        </a:spcAft>
                      </a:pPr>
                      <a:r>
                        <a:rPr lang="ru-RU" sz="1100" dirty="0">
                          <a:effectLst/>
                        </a:rPr>
                        <a:t>2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Государственн</a:t>
                      </a:r>
                    </a:p>
                    <a:p>
                      <a:pPr algn="just">
                        <a:lnSpc>
                          <a:spcPct val="107000"/>
                        </a:lnSpc>
                        <a:spcAft>
                          <a:spcPts val="0"/>
                        </a:spcAft>
                      </a:pPr>
                      <a:r>
                        <a:rPr lang="ru-RU" sz="1100">
                          <a:effectLst/>
                        </a:rPr>
                        <a:t>ая геодезическая сеть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Шульгино, </a:t>
                      </a:r>
                    </a:p>
                    <a:p>
                      <a:pPr algn="just">
                        <a:lnSpc>
                          <a:spcPct val="107000"/>
                        </a:lnSpc>
                        <a:spcAft>
                          <a:spcPts val="0"/>
                        </a:spcAft>
                      </a:pPr>
                      <a:r>
                        <a:rPr lang="ru-RU" sz="1100">
                          <a:effectLst/>
                        </a:rPr>
                        <a:t>пир.  6,5 м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МСК 50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74 467,89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a:effectLst/>
                        </a:rPr>
                        <a:t>35 492,74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a:effectLst/>
                        </a:rPr>
                        <a:t>Утрачен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dirty="0">
                          <a:effectLst/>
                        </a:rPr>
                        <a:t>Сохранился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dirty="0">
                          <a:effectLst/>
                        </a:rPr>
                        <a:t>Сохранился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extLst>
                  <a:ext uri="{0D108BD9-81ED-4DB2-BD59-A6C34878D82A}">
                    <a16:rowId xmlns:a16="http://schemas.microsoft.com/office/drawing/2014/main" xmlns="" val="10007"/>
                  </a:ext>
                </a:extLst>
              </a:tr>
              <a:tr h="901964">
                <a:tc>
                  <a:txBody>
                    <a:bodyPr/>
                    <a:lstStyle/>
                    <a:p>
                      <a:pPr algn="ctr">
                        <a:lnSpc>
                          <a:spcPct val="107000"/>
                        </a:lnSpc>
                        <a:spcAft>
                          <a:spcPts val="0"/>
                        </a:spcAft>
                      </a:pPr>
                      <a:r>
                        <a:rPr lang="ru-RU" sz="1100" dirty="0">
                          <a:effectLst/>
                        </a:rPr>
                        <a:t>3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Государственн</a:t>
                      </a:r>
                    </a:p>
                    <a:p>
                      <a:pPr algn="just">
                        <a:lnSpc>
                          <a:spcPct val="107000"/>
                        </a:lnSpc>
                        <a:spcAft>
                          <a:spcPts val="0"/>
                        </a:spcAft>
                      </a:pPr>
                      <a:r>
                        <a:rPr lang="ru-RU" sz="1100">
                          <a:effectLst/>
                        </a:rPr>
                        <a:t>ая геодезическая сеть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Пушкино, </a:t>
                      </a:r>
                    </a:p>
                    <a:p>
                      <a:pPr algn="just">
                        <a:lnSpc>
                          <a:spcPct val="107000"/>
                        </a:lnSpc>
                        <a:spcAft>
                          <a:spcPts val="0"/>
                        </a:spcAft>
                      </a:pPr>
                      <a:r>
                        <a:rPr lang="ru-RU" sz="1100">
                          <a:effectLst/>
                        </a:rPr>
                        <a:t>пир. 6,5 м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a:effectLst/>
                        </a:rPr>
                        <a:t>МСК 50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tc>
                <a:tc>
                  <a:txBody>
                    <a:bodyPr/>
                    <a:lstStyle/>
                    <a:p>
                      <a:pPr algn="just">
                        <a:lnSpc>
                          <a:spcPct val="107000"/>
                        </a:lnSpc>
                        <a:spcAft>
                          <a:spcPts val="0"/>
                        </a:spcAft>
                      </a:pPr>
                      <a:r>
                        <a:rPr lang="ru-RU" sz="1100" dirty="0">
                          <a:effectLst/>
                        </a:rPr>
                        <a:t>94 005,43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a:effectLst/>
                        </a:rPr>
                        <a:t>12 664,96 </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dirty="0">
                          <a:effectLst/>
                        </a:rPr>
                        <a:t>Сохранился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dirty="0">
                          <a:effectLst/>
                        </a:rPr>
                        <a:t>Сохранился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tc>
                  <a:txBody>
                    <a:bodyPr/>
                    <a:lstStyle/>
                    <a:p>
                      <a:pPr algn="just">
                        <a:lnSpc>
                          <a:spcPct val="107000"/>
                        </a:lnSpc>
                        <a:spcAft>
                          <a:spcPts val="0"/>
                        </a:spcAft>
                      </a:pPr>
                      <a:r>
                        <a:rPr lang="ru-RU" sz="1100" dirty="0">
                          <a:effectLst/>
                        </a:rPr>
                        <a:t>Сохранился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5032" marR="14043" marT="33580" marB="37243" anchor="ct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27910416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24</a:t>
            </a:fld>
            <a:endParaRPr lang="ru-RU" dirty="0"/>
          </a:p>
        </p:txBody>
      </p:sp>
      <p:sp>
        <p:nvSpPr>
          <p:cNvPr id="3" name="Заголовок 2"/>
          <p:cNvSpPr>
            <a:spLocks noGrp="1"/>
          </p:cNvSpPr>
          <p:nvPr>
            <p:ph type="title"/>
          </p:nvPr>
        </p:nvSpPr>
        <p:spPr/>
        <p:txBody>
          <a:bodyPr/>
          <a:lstStyle/>
          <a:p>
            <a:r>
              <a:rPr lang="ru-RU" dirty="0" smtClean="0"/>
              <a:t>Сеть дифференциальных станций (ДГС)</a:t>
            </a:r>
            <a:endParaRPr lang="ru-RU" dirty="0"/>
          </a:p>
        </p:txBody>
      </p:sp>
      <p:sp>
        <p:nvSpPr>
          <p:cNvPr id="4" name="Текст 3"/>
          <p:cNvSpPr>
            <a:spLocks noGrp="1"/>
          </p:cNvSpPr>
          <p:nvPr>
            <p:ph type="body" sz="quarter" idx="11"/>
          </p:nvPr>
        </p:nvSpPr>
        <p:spPr>
          <a:xfrm>
            <a:off x="478520" y="4308143"/>
            <a:ext cx="3688080" cy="1808548"/>
          </a:xfrm>
        </p:spPr>
        <p:txBody>
          <a:bodyPr>
            <a:normAutofit/>
          </a:bodyPr>
          <a:lstStyle/>
          <a:p>
            <a:r>
              <a:rPr lang="ru-RU" sz="1800" dirty="0" smtClean="0">
                <a:solidFill>
                  <a:schemeClr val="tx2">
                    <a:lumMod val="50000"/>
                  </a:schemeClr>
                </a:solidFill>
              </a:rPr>
              <a:t>Сведения об использованном пункте ДГС внесены не верно.</a:t>
            </a:r>
          </a:p>
          <a:p>
            <a:r>
              <a:rPr lang="ru-RU" sz="1800" dirty="0" smtClean="0">
                <a:solidFill>
                  <a:schemeClr val="tx2">
                    <a:lumMod val="50000"/>
                  </a:schemeClr>
                </a:solidFill>
              </a:rPr>
              <a:t>Графы "7</a:t>
            </a:r>
            <a:r>
              <a:rPr lang="ru-RU" sz="1800" dirty="0">
                <a:solidFill>
                  <a:schemeClr val="tx2">
                    <a:lumMod val="50000"/>
                  </a:schemeClr>
                </a:solidFill>
              </a:rPr>
              <a:t>", "8", "9" и строка, предусмотренная для отражения сведений "о дате обследования", не заполняются.</a:t>
            </a:r>
          </a:p>
          <a:p>
            <a:endParaRPr lang="ru-RU" sz="1800" dirty="0" smtClean="0">
              <a:solidFill>
                <a:schemeClr val="tx2">
                  <a:lumMod val="50000"/>
                </a:schemeClr>
              </a:solidFill>
            </a:endParaRPr>
          </a:p>
          <a:p>
            <a:endParaRPr lang="ru-RU" sz="1800" dirty="0">
              <a:solidFill>
                <a:schemeClr val="tx2">
                  <a:lumMod val="50000"/>
                </a:schemeClr>
              </a:solidFill>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6917" y="1024188"/>
            <a:ext cx="6882902" cy="5492504"/>
          </a:xfrm>
          <a:prstGeom prst="rect">
            <a:avLst/>
          </a:prstGeom>
        </p:spPr>
      </p:pic>
      <p:sp>
        <p:nvSpPr>
          <p:cNvPr id="7" name="Скругленный прямоугольник 6"/>
          <p:cNvSpPr/>
          <p:nvPr/>
        </p:nvSpPr>
        <p:spPr>
          <a:xfrm>
            <a:off x="306751" y="1019362"/>
            <a:ext cx="4258492" cy="1526174"/>
          </a:xfrm>
          <a:prstGeom prst="round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Стрелка вправо 7"/>
          <p:cNvSpPr/>
          <p:nvPr/>
        </p:nvSpPr>
        <p:spPr>
          <a:xfrm rot="690550">
            <a:off x="3411390" y="2625209"/>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Текст 3"/>
          <p:cNvSpPr txBox="1">
            <a:spLocks/>
          </p:cNvSpPr>
          <p:nvPr/>
        </p:nvSpPr>
        <p:spPr>
          <a:xfrm>
            <a:off x="478520" y="1176589"/>
            <a:ext cx="3984623" cy="1196498"/>
          </a:xfrm>
          <a:prstGeom prst="rect">
            <a:avLst/>
          </a:prstGeom>
        </p:spPr>
        <p:txBody>
          <a:bodyPr vert="horz" lIns="91440" tIns="45720" rIns="91440" bIns="45720" rtlCol="0">
            <a:normAutofit lnSpcReduction="10000"/>
          </a:bodyPr>
          <a:lstStyle>
            <a:lvl1pPr marL="0" indent="0" algn="l" defTabSz="914377" rtl="0" eaLnBrk="1" latinLnBrk="0" hangingPunct="1">
              <a:lnSpc>
                <a:spcPct val="90000"/>
              </a:lnSpc>
              <a:spcBef>
                <a:spcPts val="1000"/>
              </a:spcBef>
              <a:buFont typeface="Arial" panose="020B0604020202020204" pitchFamily="34" charset="0"/>
              <a:buNone/>
              <a:defRPr sz="2800" kern="1200">
                <a:solidFill>
                  <a:srgbClr val="000000"/>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rgbClr val="000000"/>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rgbClr val="000000"/>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rgbClr val="000000"/>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rgbClr val="000000"/>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sz="1800" dirty="0" smtClean="0">
                <a:solidFill>
                  <a:schemeClr val="tx1"/>
                </a:solidFill>
              </a:rPr>
              <a:t>Не указаны реквизиты договора на оказание услуг по предоставлению измерительной и корректирующей информации сети спутниковых опорных (</a:t>
            </a:r>
            <a:r>
              <a:rPr lang="ru-RU" sz="1800" dirty="0" err="1" smtClean="0">
                <a:solidFill>
                  <a:schemeClr val="tx1"/>
                </a:solidFill>
              </a:rPr>
              <a:t>референцных</a:t>
            </a:r>
            <a:r>
              <a:rPr lang="ru-RU" sz="1800" dirty="0" smtClean="0">
                <a:solidFill>
                  <a:schemeClr val="tx1"/>
                </a:solidFill>
              </a:rPr>
              <a:t>) станций </a:t>
            </a:r>
            <a:endParaRPr lang="ru-RU" sz="1800" dirty="0">
              <a:solidFill>
                <a:schemeClr val="tx1"/>
              </a:solidFill>
            </a:endParaRPr>
          </a:p>
        </p:txBody>
      </p:sp>
      <p:sp>
        <p:nvSpPr>
          <p:cNvPr id="10" name="Скругленный прямоугольник 9"/>
          <p:cNvSpPr/>
          <p:nvPr/>
        </p:nvSpPr>
        <p:spPr>
          <a:xfrm>
            <a:off x="306751" y="4114800"/>
            <a:ext cx="3859849" cy="2188044"/>
          </a:xfrm>
          <a:prstGeom prst="round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Стрелка вправо 10"/>
          <p:cNvSpPr/>
          <p:nvPr/>
        </p:nvSpPr>
        <p:spPr>
          <a:xfrm rot="2007983">
            <a:off x="3677395" y="5207984"/>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07317036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BEB4C372-DC01-4E9B-83DD-E503A2E41353}"/>
              </a:ext>
            </a:extLst>
          </p:cNvPr>
          <p:cNvSpPr>
            <a:spLocks noGrp="1"/>
          </p:cNvSpPr>
          <p:nvPr>
            <p:ph type="sldNum" sz="quarter" idx="10"/>
          </p:nvPr>
        </p:nvSpPr>
        <p:spPr/>
        <p:txBody>
          <a:bodyPr/>
          <a:lstStyle/>
          <a:p>
            <a:fld id="{35ACA335-37F7-42C7-872A-92C3D7072F89}" type="slidenum">
              <a:rPr lang="ru-RU" smtClean="0"/>
              <a:pPr/>
              <a:t>25</a:t>
            </a:fld>
            <a:endParaRPr lang="ru-RU" dirty="0"/>
          </a:p>
        </p:txBody>
      </p:sp>
      <p:sp>
        <p:nvSpPr>
          <p:cNvPr id="3" name="Заголовок 2">
            <a:extLst>
              <a:ext uri="{FF2B5EF4-FFF2-40B4-BE49-F238E27FC236}">
                <a16:creationId xmlns:a16="http://schemas.microsoft.com/office/drawing/2014/main" xmlns="" id="{0B7744AE-DDF9-4947-A1A7-47DEACB30329}"/>
              </a:ext>
            </a:extLst>
          </p:cNvPr>
          <p:cNvSpPr>
            <a:spLocks noGrp="1"/>
          </p:cNvSpPr>
          <p:nvPr>
            <p:ph type="title"/>
          </p:nvPr>
        </p:nvSpPr>
        <p:spPr>
          <a:xfrm>
            <a:off x="962025" y="158744"/>
            <a:ext cx="10534651" cy="1307199"/>
          </a:xfrm>
        </p:spPr>
        <p:txBody>
          <a:bodyPr>
            <a:normAutofit fontScale="90000"/>
          </a:bodyPr>
          <a:lstStyle/>
          <a:p>
            <a:r>
              <a:rPr lang="ru-RU" altLang="ru-RU"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В разделе «Исходные данные» отсутствует (не полное указание) наименование и реквизиты документа о предоставлении данных, находящихся в федеральном фонде пространственных данных, либо указаны реквизиты документа, по которому срок пользования данными окончен</a:t>
            </a:r>
            <a:endParaRPr lang="ru-RU" dirty="0"/>
          </a:p>
        </p:txBody>
      </p:sp>
      <p:grpSp>
        <p:nvGrpSpPr>
          <p:cNvPr id="5" name="Group 15557">
            <a:extLst>
              <a:ext uri="{FF2B5EF4-FFF2-40B4-BE49-F238E27FC236}">
                <a16:creationId xmlns:a16="http://schemas.microsoft.com/office/drawing/2014/main" xmlns="" id="{21FA6258-1377-42AB-8DF1-98B77A9D2B5A}"/>
              </a:ext>
            </a:extLst>
          </p:cNvPr>
          <p:cNvGrpSpPr>
            <a:grpSpLocks/>
          </p:cNvGrpSpPr>
          <p:nvPr/>
        </p:nvGrpSpPr>
        <p:grpSpPr bwMode="auto">
          <a:xfrm>
            <a:off x="2239304" y="1688086"/>
            <a:ext cx="8378724" cy="4828606"/>
            <a:chOff x="4297" y="0"/>
            <a:chExt cx="91024" cy="47061"/>
          </a:xfrm>
        </p:grpSpPr>
        <p:pic>
          <p:nvPicPr>
            <p:cNvPr id="6" name="Picture 17">
              <a:extLst>
                <a:ext uri="{FF2B5EF4-FFF2-40B4-BE49-F238E27FC236}">
                  <a16:creationId xmlns:a16="http://schemas.microsoft.com/office/drawing/2014/main" xmlns="" id="{6054D0AF-A007-4A05-8C76-79442B57B8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13" y="0"/>
              <a:ext cx="76962" cy="10774"/>
            </a:xfrm>
            <a:prstGeom prst="rect">
              <a:avLst/>
            </a:prstGeom>
            <a:noFill/>
            <a:extLst>
              <a:ext uri="{909E8E84-426E-40DD-AFC4-6F175D3DCCD1}">
                <a14:hiddenFill xmlns:a14="http://schemas.microsoft.com/office/drawing/2010/main">
                  <a:solidFill>
                    <a:srgbClr val="FFFFFF"/>
                  </a:solidFill>
                </a14:hiddenFill>
              </a:ext>
            </a:extLst>
          </p:spPr>
        </p:pic>
        <p:sp>
          <p:nvSpPr>
            <p:cNvPr id="7" name="Shape 19">
              <a:extLst>
                <a:ext uri="{FF2B5EF4-FFF2-40B4-BE49-F238E27FC236}">
                  <a16:creationId xmlns:a16="http://schemas.microsoft.com/office/drawing/2014/main" xmlns="" id="{B25A2F37-E49C-4FCA-A66B-67164A23CB06}"/>
                </a:ext>
              </a:extLst>
            </p:cNvPr>
            <p:cNvSpPr>
              <a:spLocks/>
            </p:cNvSpPr>
            <p:nvPr/>
          </p:nvSpPr>
          <p:spPr bwMode="auto">
            <a:xfrm>
              <a:off x="42748" y="12740"/>
              <a:ext cx="43114" cy="3688"/>
            </a:xfrm>
            <a:custGeom>
              <a:avLst/>
              <a:gdLst>
                <a:gd name="T0" fmla="*/ 12192 w 4311396"/>
                <a:gd name="T1" fmla="*/ 0 h 368808"/>
                <a:gd name="T2" fmla="*/ 4297680 w 4311396"/>
                <a:gd name="T3" fmla="*/ 0 h 368808"/>
                <a:gd name="T4" fmla="*/ 4311396 w 4311396"/>
                <a:gd name="T5" fmla="*/ 12192 h 368808"/>
                <a:gd name="T6" fmla="*/ 4311396 w 4311396"/>
                <a:gd name="T7" fmla="*/ 368808 h 368808"/>
                <a:gd name="T8" fmla="*/ 4285488 w 4311396"/>
                <a:gd name="T9" fmla="*/ 368808 h 368808"/>
                <a:gd name="T10" fmla="*/ 4285488 w 4311396"/>
                <a:gd name="T11" fmla="*/ 24384 h 368808"/>
                <a:gd name="T12" fmla="*/ 24384 w 4311396"/>
                <a:gd name="T13" fmla="*/ 24384 h 368808"/>
                <a:gd name="T14" fmla="*/ 24384 w 4311396"/>
                <a:gd name="T15" fmla="*/ 368808 h 368808"/>
                <a:gd name="T16" fmla="*/ 0 w 4311396"/>
                <a:gd name="T17" fmla="*/ 368808 h 368808"/>
                <a:gd name="T18" fmla="*/ 0 w 4311396"/>
                <a:gd name="T19" fmla="*/ 12192 h 368808"/>
                <a:gd name="T20" fmla="*/ 12192 w 4311396"/>
                <a:gd name="T21" fmla="*/ 0 h 368808"/>
                <a:gd name="T22" fmla="*/ 0 w 4311396"/>
                <a:gd name="T23" fmla="*/ 0 h 368808"/>
                <a:gd name="T24" fmla="*/ 4311396 w 4311396"/>
                <a:gd name="T25" fmla="*/ 368808 h 368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4311396" h="368808">
                  <a:moveTo>
                    <a:pt x="12192" y="0"/>
                  </a:moveTo>
                  <a:lnTo>
                    <a:pt x="4297680" y="0"/>
                  </a:lnTo>
                  <a:cubicBezTo>
                    <a:pt x="4305300" y="0"/>
                    <a:pt x="4311396" y="4572"/>
                    <a:pt x="4311396" y="12192"/>
                  </a:cubicBezTo>
                  <a:lnTo>
                    <a:pt x="4311396" y="368808"/>
                  </a:lnTo>
                  <a:lnTo>
                    <a:pt x="4285488" y="368808"/>
                  </a:lnTo>
                  <a:lnTo>
                    <a:pt x="4285488" y="24384"/>
                  </a:lnTo>
                  <a:lnTo>
                    <a:pt x="24384" y="24384"/>
                  </a:lnTo>
                  <a:lnTo>
                    <a:pt x="24384" y="368808"/>
                  </a:lnTo>
                  <a:lnTo>
                    <a:pt x="0" y="368808"/>
                  </a:lnTo>
                  <a:lnTo>
                    <a:pt x="0" y="12192"/>
                  </a:lnTo>
                  <a:cubicBezTo>
                    <a:pt x="0" y="4572"/>
                    <a:pt x="4572" y="0"/>
                    <a:pt x="12192" y="0"/>
                  </a:cubicBezTo>
                  <a:close/>
                </a:path>
              </a:pathLst>
            </a:custGeom>
            <a:solidFill>
              <a:srgbClr val="17375E"/>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 name="Shape 20">
              <a:extLst>
                <a:ext uri="{FF2B5EF4-FFF2-40B4-BE49-F238E27FC236}">
                  <a16:creationId xmlns:a16="http://schemas.microsoft.com/office/drawing/2014/main" xmlns="" id="{CE8C235C-A5C4-4B55-9ECF-944473AF0B9F}"/>
                </a:ext>
              </a:extLst>
            </p:cNvPr>
            <p:cNvSpPr>
              <a:spLocks/>
            </p:cNvSpPr>
            <p:nvPr/>
          </p:nvSpPr>
          <p:spPr bwMode="auto">
            <a:xfrm>
              <a:off x="64129" y="5943"/>
              <a:ext cx="17725" cy="7346"/>
            </a:xfrm>
            <a:custGeom>
              <a:avLst/>
              <a:gdLst>
                <a:gd name="T0" fmla="*/ 9144 w 1772412"/>
                <a:gd name="T1" fmla="*/ 0 h 734568"/>
                <a:gd name="T2" fmla="*/ 1772412 w 1772412"/>
                <a:gd name="T3" fmla="*/ 711708 h 734568"/>
                <a:gd name="T4" fmla="*/ 1761744 w 1772412"/>
                <a:gd name="T5" fmla="*/ 734568 h 734568"/>
                <a:gd name="T6" fmla="*/ 0 w 1772412"/>
                <a:gd name="T7" fmla="*/ 22860 h 734568"/>
                <a:gd name="T8" fmla="*/ 9144 w 1772412"/>
                <a:gd name="T9" fmla="*/ 0 h 734568"/>
                <a:gd name="T10" fmla="*/ 0 w 1772412"/>
                <a:gd name="T11" fmla="*/ 0 h 734568"/>
                <a:gd name="T12" fmla="*/ 1772412 w 1772412"/>
                <a:gd name="T13" fmla="*/ 734568 h 734568"/>
              </a:gdLst>
              <a:ahLst/>
              <a:cxnLst>
                <a:cxn ang="0">
                  <a:pos x="T0" y="T1"/>
                </a:cxn>
                <a:cxn ang="0">
                  <a:pos x="T2" y="T3"/>
                </a:cxn>
                <a:cxn ang="0">
                  <a:pos x="T4" y="T5"/>
                </a:cxn>
                <a:cxn ang="0">
                  <a:pos x="T6" y="T7"/>
                </a:cxn>
                <a:cxn ang="0">
                  <a:pos x="T8" y="T9"/>
                </a:cxn>
              </a:cxnLst>
              <a:rect l="T10" t="T11" r="T12" b="T13"/>
              <a:pathLst>
                <a:path w="1772412" h="734568">
                  <a:moveTo>
                    <a:pt x="9144" y="0"/>
                  </a:moveTo>
                  <a:lnTo>
                    <a:pt x="1772412" y="711708"/>
                  </a:lnTo>
                  <a:lnTo>
                    <a:pt x="1761744" y="734568"/>
                  </a:lnTo>
                  <a:lnTo>
                    <a:pt x="0" y="22860"/>
                  </a:lnTo>
                  <a:lnTo>
                    <a:pt x="9144" y="0"/>
                  </a:lnTo>
                  <a:close/>
                </a:path>
              </a:pathLst>
            </a:custGeom>
            <a:solidFill>
              <a:srgbClr val="17375E"/>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 name="Rectangle 21">
              <a:extLst>
                <a:ext uri="{FF2B5EF4-FFF2-40B4-BE49-F238E27FC236}">
                  <a16:creationId xmlns:a16="http://schemas.microsoft.com/office/drawing/2014/main" xmlns="" id="{A852152D-8963-4063-8CFB-1B8C08CB7766}"/>
                </a:ext>
              </a:extLst>
            </p:cNvPr>
            <p:cNvSpPr>
              <a:spLocks noChangeArrowheads="1"/>
            </p:cNvSpPr>
            <p:nvPr/>
          </p:nvSpPr>
          <p:spPr bwMode="auto">
            <a:xfrm>
              <a:off x="53019" y="13818"/>
              <a:ext cx="30750"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Отсутствуют данные, </a:t>
              </a:r>
              <a:endParaRPr kumimoji="0" lang="en-US" altLang="ru-RU" sz="1800" b="0" i="0" u="none" strike="noStrike" cap="none" normalizeH="0" baseline="0">
                <a:ln>
                  <a:noFill/>
                </a:ln>
                <a:solidFill>
                  <a:schemeClr val="tx1"/>
                </a:solidFill>
                <a:effectLst/>
                <a:latin typeface="Arial" panose="020B0604020202020204" pitchFamily="34" charset="0"/>
              </a:endParaRPr>
            </a:p>
          </p:txBody>
        </p:sp>
        <p:sp>
          <p:nvSpPr>
            <p:cNvPr id="10" name="Shape 23">
              <a:extLst>
                <a:ext uri="{FF2B5EF4-FFF2-40B4-BE49-F238E27FC236}">
                  <a16:creationId xmlns:a16="http://schemas.microsoft.com/office/drawing/2014/main" xmlns="" id="{E9003C32-E6A4-4E00-AC40-D744BA6C7C4B}"/>
                </a:ext>
              </a:extLst>
            </p:cNvPr>
            <p:cNvSpPr>
              <a:spLocks/>
            </p:cNvSpPr>
            <p:nvPr/>
          </p:nvSpPr>
          <p:spPr bwMode="auto">
            <a:xfrm>
              <a:off x="5593" y="13456"/>
              <a:ext cx="34549" cy="2972"/>
            </a:xfrm>
            <a:custGeom>
              <a:avLst/>
              <a:gdLst>
                <a:gd name="T0" fmla="*/ 12192 w 3454905"/>
                <a:gd name="T1" fmla="*/ 0 h 297180"/>
                <a:gd name="T2" fmla="*/ 3441189 w 3454905"/>
                <a:gd name="T3" fmla="*/ 0 h 297180"/>
                <a:gd name="T4" fmla="*/ 3454905 w 3454905"/>
                <a:gd name="T5" fmla="*/ 12192 h 297180"/>
                <a:gd name="T6" fmla="*/ 3454905 w 3454905"/>
                <a:gd name="T7" fmla="*/ 297180 h 297180"/>
                <a:gd name="T8" fmla="*/ 3428997 w 3454905"/>
                <a:gd name="T9" fmla="*/ 297180 h 297180"/>
                <a:gd name="T10" fmla="*/ 3428997 w 3454905"/>
                <a:gd name="T11" fmla="*/ 24384 h 297180"/>
                <a:gd name="T12" fmla="*/ 25908 w 3454905"/>
                <a:gd name="T13" fmla="*/ 24384 h 297180"/>
                <a:gd name="T14" fmla="*/ 25908 w 3454905"/>
                <a:gd name="T15" fmla="*/ 297180 h 297180"/>
                <a:gd name="T16" fmla="*/ 0 w 3454905"/>
                <a:gd name="T17" fmla="*/ 297180 h 297180"/>
                <a:gd name="T18" fmla="*/ 0 w 3454905"/>
                <a:gd name="T19" fmla="*/ 12192 h 297180"/>
                <a:gd name="T20" fmla="*/ 12192 w 3454905"/>
                <a:gd name="T21" fmla="*/ 0 h 297180"/>
                <a:gd name="T22" fmla="*/ 0 w 3454905"/>
                <a:gd name="T23" fmla="*/ 0 h 297180"/>
                <a:gd name="T24" fmla="*/ 3454905 w 3454905"/>
                <a:gd name="T25" fmla="*/ 297180 h 297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3454905" h="297180">
                  <a:moveTo>
                    <a:pt x="12192" y="0"/>
                  </a:moveTo>
                  <a:lnTo>
                    <a:pt x="3441189" y="0"/>
                  </a:lnTo>
                  <a:cubicBezTo>
                    <a:pt x="3448809" y="0"/>
                    <a:pt x="3454905" y="4572"/>
                    <a:pt x="3454905" y="12192"/>
                  </a:cubicBezTo>
                  <a:lnTo>
                    <a:pt x="3454905" y="297180"/>
                  </a:lnTo>
                  <a:lnTo>
                    <a:pt x="3428997" y="297180"/>
                  </a:lnTo>
                  <a:lnTo>
                    <a:pt x="3428997" y="24384"/>
                  </a:lnTo>
                  <a:lnTo>
                    <a:pt x="25908" y="24384"/>
                  </a:lnTo>
                  <a:lnTo>
                    <a:pt x="25908" y="297180"/>
                  </a:lnTo>
                  <a:lnTo>
                    <a:pt x="0" y="297180"/>
                  </a:lnTo>
                  <a:lnTo>
                    <a:pt x="0" y="12192"/>
                  </a:lnTo>
                  <a:cubicBezTo>
                    <a:pt x="0" y="4572"/>
                    <a:pt x="6096" y="0"/>
                    <a:pt x="12192" y="0"/>
                  </a:cubicBezTo>
                  <a:close/>
                </a:path>
              </a:pathLst>
            </a:custGeom>
            <a:solidFill>
              <a:srgbClr val="17375E"/>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 name="Shape 24">
              <a:extLst>
                <a:ext uri="{FF2B5EF4-FFF2-40B4-BE49-F238E27FC236}">
                  <a16:creationId xmlns:a16="http://schemas.microsoft.com/office/drawing/2014/main" xmlns="" id="{178B0787-DD4D-4592-8C2D-007261AA573B}"/>
                </a:ext>
              </a:extLst>
            </p:cNvPr>
            <p:cNvSpPr>
              <a:spLocks/>
            </p:cNvSpPr>
            <p:nvPr/>
          </p:nvSpPr>
          <p:spPr bwMode="auto">
            <a:xfrm>
              <a:off x="15956" y="9692"/>
              <a:ext cx="2667" cy="3963"/>
            </a:xfrm>
            <a:custGeom>
              <a:avLst/>
              <a:gdLst>
                <a:gd name="T0" fmla="*/ 245364 w 266700"/>
                <a:gd name="T1" fmla="*/ 0 h 396240"/>
                <a:gd name="T2" fmla="*/ 266700 w 266700"/>
                <a:gd name="T3" fmla="*/ 13716 h 396240"/>
                <a:gd name="T4" fmla="*/ 21336 w 266700"/>
                <a:gd name="T5" fmla="*/ 396240 h 396240"/>
                <a:gd name="T6" fmla="*/ 0 w 266700"/>
                <a:gd name="T7" fmla="*/ 382524 h 396240"/>
                <a:gd name="T8" fmla="*/ 245364 w 266700"/>
                <a:gd name="T9" fmla="*/ 0 h 396240"/>
                <a:gd name="T10" fmla="*/ 0 w 266700"/>
                <a:gd name="T11" fmla="*/ 0 h 396240"/>
                <a:gd name="T12" fmla="*/ 266700 w 266700"/>
                <a:gd name="T13" fmla="*/ 396240 h 396240"/>
              </a:gdLst>
              <a:ahLst/>
              <a:cxnLst>
                <a:cxn ang="0">
                  <a:pos x="T0" y="T1"/>
                </a:cxn>
                <a:cxn ang="0">
                  <a:pos x="T2" y="T3"/>
                </a:cxn>
                <a:cxn ang="0">
                  <a:pos x="T4" y="T5"/>
                </a:cxn>
                <a:cxn ang="0">
                  <a:pos x="T6" y="T7"/>
                </a:cxn>
                <a:cxn ang="0">
                  <a:pos x="T8" y="T9"/>
                </a:cxn>
              </a:cxnLst>
              <a:rect l="T10" t="T11" r="T12" b="T13"/>
              <a:pathLst>
                <a:path w="266700" h="396240">
                  <a:moveTo>
                    <a:pt x="245364" y="0"/>
                  </a:moveTo>
                  <a:lnTo>
                    <a:pt x="266700" y="13716"/>
                  </a:lnTo>
                  <a:lnTo>
                    <a:pt x="21336" y="396240"/>
                  </a:lnTo>
                  <a:lnTo>
                    <a:pt x="0" y="382524"/>
                  </a:lnTo>
                  <a:lnTo>
                    <a:pt x="245364" y="0"/>
                  </a:lnTo>
                  <a:close/>
                </a:path>
              </a:pathLst>
            </a:custGeom>
            <a:solidFill>
              <a:srgbClr val="17375E"/>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Shape 26">
              <a:extLst>
                <a:ext uri="{FF2B5EF4-FFF2-40B4-BE49-F238E27FC236}">
                  <a16:creationId xmlns:a16="http://schemas.microsoft.com/office/drawing/2014/main" xmlns="" id="{5EB1A846-3C2B-464C-AD14-0A7CE9D0212D}"/>
                </a:ext>
              </a:extLst>
            </p:cNvPr>
            <p:cNvSpPr>
              <a:spLocks/>
            </p:cNvSpPr>
            <p:nvPr/>
          </p:nvSpPr>
          <p:spPr bwMode="auto">
            <a:xfrm>
              <a:off x="5013" y="16973"/>
              <a:ext cx="81817" cy="30088"/>
            </a:xfrm>
            <a:custGeom>
              <a:avLst/>
              <a:gdLst>
                <a:gd name="T0" fmla="*/ 0 w 9143997"/>
                <a:gd name="T1" fmla="*/ 0 h 3429001"/>
                <a:gd name="T2" fmla="*/ 9143997 w 9143997"/>
                <a:gd name="T3" fmla="*/ 0 h 3429001"/>
                <a:gd name="T4" fmla="*/ 9143997 w 9143997"/>
                <a:gd name="T5" fmla="*/ 3429001 h 3429001"/>
                <a:gd name="T6" fmla="*/ 186612 w 9143997"/>
                <a:gd name="T7" fmla="*/ 3429000 h 3429001"/>
                <a:gd name="T8" fmla="*/ 0 w 9143997"/>
                <a:gd name="T9" fmla="*/ 3429000 h 3429001"/>
                <a:gd name="T10" fmla="*/ 0 w 9143997"/>
                <a:gd name="T11" fmla="*/ 0 h 3429001"/>
                <a:gd name="T12" fmla="*/ 0 w 9143997"/>
                <a:gd name="T13" fmla="*/ 0 h 3429001"/>
                <a:gd name="T14" fmla="*/ 9143997 w 9143997"/>
                <a:gd name="T15" fmla="*/ 3429001 h 3429001"/>
              </a:gdLst>
              <a:ahLst/>
              <a:cxnLst>
                <a:cxn ang="0">
                  <a:pos x="T0" y="T1"/>
                </a:cxn>
                <a:cxn ang="0">
                  <a:pos x="T2" y="T3"/>
                </a:cxn>
                <a:cxn ang="0">
                  <a:pos x="T4" y="T5"/>
                </a:cxn>
                <a:cxn ang="0">
                  <a:pos x="T6" y="T7"/>
                </a:cxn>
                <a:cxn ang="0">
                  <a:pos x="T8" y="T9"/>
                </a:cxn>
                <a:cxn ang="0">
                  <a:pos x="T10" y="T11"/>
                </a:cxn>
              </a:cxnLst>
              <a:rect l="T12" t="T13" r="T14" b="T15"/>
              <a:pathLst>
                <a:path w="9143997" h="3429001">
                  <a:moveTo>
                    <a:pt x="0" y="0"/>
                  </a:moveTo>
                  <a:lnTo>
                    <a:pt x="9143997" y="0"/>
                  </a:lnTo>
                  <a:lnTo>
                    <a:pt x="9143997" y="3429001"/>
                  </a:lnTo>
                  <a:lnTo>
                    <a:pt x="186612" y="3429000"/>
                  </a:lnTo>
                  <a:lnTo>
                    <a:pt x="0" y="3429000"/>
                  </a:lnTo>
                  <a:lnTo>
                    <a:pt x="0" y="0"/>
                  </a:lnTo>
                  <a:close/>
                </a:path>
              </a:pathLst>
            </a:custGeom>
            <a:solidFill>
              <a:srgbClr val="FFFFFF"/>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 name="Shape 28">
              <a:extLst>
                <a:ext uri="{FF2B5EF4-FFF2-40B4-BE49-F238E27FC236}">
                  <a16:creationId xmlns:a16="http://schemas.microsoft.com/office/drawing/2014/main" xmlns="" id="{D57B44DF-BA7A-4C5F-AA79-8EB4D02172ED}"/>
                </a:ext>
              </a:extLst>
            </p:cNvPr>
            <p:cNvSpPr>
              <a:spLocks/>
            </p:cNvSpPr>
            <p:nvPr/>
          </p:nvSpPr>
          <p:spPr bwMode="auto">
            <a:xfrm>
              <a:off x="42870" y="16428"/>
              <a:ext cx="42854" cy="9297"/>
            </a:xfrm>
            <a:custGeom>
              <a:avLst/>
              <a:gdLst>
                <a:gd name="T0" fmla="*/ 0 w 4285488"/>
                <a:gd name="T1" fmla="*/ 0 h 929640"/>
                <a:gd name="T2" fmla="*/ 4285488 w 4285488"/>
                <a:gd name="T3" fmla="*/ 0 h 929640"/>
                <a:gd name="T4" fmla="*/ 4285488 w 4285488"/>
                <a:gd name="T5" fmla="*/ 929640 h 929640"/>
                <a:gd name="T6" fmla="*/ 0 w 4285488"/>
                <a:gd name="T7" fmla="*/ 929640 h 929640"/>
                <a:gd name="T8" fmla="*/ 0 w 4285488"/>
                <a:gd name="T9" fmla="*/ 0 h 929640"/>
                <a:gd name="T10" fmla="*/ 0 w 4285488"/>
                <a:gd name="T11" fmla="*/ 0 h 929640"/>
                <a:gd name="T12" fmla="*/ 4285488 w 4285488"/>
                <a:gd name="T13" fmla="*/ 929640 h 929640"/>
              </a:gdLst>
              <a:ahLst/>
              <a:cxnLst>
                <a:cxn ang="0">
                  <a:pos x="T0" y="T1"/>
                </a:cxn>
                <a:cxn ang="0">
                  <a:pos x="T2" y="T3"/>
                </a:cxn>
                <a:cxn ang="0">
                  <a:pos x="T4" y="T5"/>
                </a:cxn>
                <a:cxn ang="0">
                  <a:pos x="T6" y="T7"/>
                </a:cxn>
                <a:cxn ang="0">
                  <a:pos x="T8" y="T9"/>
                </a:cxn>
              </a:cxnLst>
              <a:rect l="T10" t="T11" r="T12" b="T13"/>
              <a:pathLst>
                <a:path w="4285488" h="929640">
                  <a:moveTo>
                    <a:pt x="0" y="0"/>
                  </a:moveTo>
                  <a:lnTo>
                    <a:pt x="4285488" y="0"/>
                  </a:lnTo>
                  <a:lnTo>
                    <a:pt x="4285488" y="929640"/>
                  </a:lnTo>
                  <a:lnTo>
                    <a:pt x="0" y="929640"/>
                  </a:lnTo>
                  <a:lnTo>
                    <a:pt x="0" y="0"/>
                  </a:lnTo>
                  <a:close/>
                </a:path>
              </a:pathLst>
            </a:custGeom>
            <a:solidFill>
              <a:srgbClr val="FFFFFF"/>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 name="Shape 29">
              <a:extLst>
                <a:ext uri="{FF2B5EF4-FFF2-40B4-BE49-F238E27FC236}">
                  <a16:creationId xmlns:a16="http://schemas.microsoft.com/office/drawing/2014/main" xmlns="" id="{CF8A0F8F-DE1C-46F8-98F8-BA1FCC668E49}"/>
                </a:ext>
              </a:extLst>
            </p:cNvPr>
            <p:cNvSpPr>
              <a:spLocks/>
            </p:cNvSpPr>
            <p:nvPr/>
          </p:nvSpPr>
          <p:spPr bwMode="auto">
            <a:xfrm>
              <a:off x="42748" y="16428"/>
              <a:ext cx="43114" cy="9419"/>
            </a:xfrm>
            <a:custGeom>
              <a:avLst/>
              <a:gdLst>
                <a:gd name="T0" fmla="*/ 0 w 4311396"/>
                <a:gd name="T1" fmla="*/ 0 h 941832"/>
                <a:gd name="T2" fmla="*/ 24385 w 4311396"/>
                <a:gd name="T3" fmla="*/ 0 h 941832"/>
                <a:gd name="T4" fmla="*/ 24384 w 4311396"/>
                <a:gd name="T5" fmla="*/ 917448 h 941832"/>
                <a:gd name="T6" fmla="*/ 4285489 w 4311396"/>
                <a:gd name="T7" fmla="*/ 917448 h 941832"/>
                <a:gd name="T8" fmla="*/ 4285489 w 4311396"/>
                <a:gd name="T9" fmla="*/ 0 h 941832"/>
                <a:gd name="T10" fmla="*/ 4311396 w 4311396"/>
                <a:gd name="T11" fmla="*/ 0 h 941832"/>
                <a:gd name="T12" fmla="*/ 4311396 w 4311396"/>
                <a:gd name="T13" fmla="*/ 929640 h 941832"/>
                <a:gd name="T14" fmla="*/ 4297680 w 4311396"/>
                <a:gd name="T15" fmla="*/ 941832 h 941832"/>
                <a:gd name="T16" fmla="*/ 12192 w 4311396"/>
                <a:gd name="T17" fmla="*/ 941832 h 941832"/>
                <a:gd name="T18" fmla="*/ 0 w 4311396"/>
                <a:gd name="T19" fmla="*/ 929640 h 941832"/>
                <a:gd name="T20" fmla="*/ 0 w 4311396"/>
                <a:gd name="T21" fmla="*/ 0 h 941832"/>
                <a:gd name="T22" fmla="*/ 0 w 4311396"/>
                <a:gd name="T23" fmla="*/ 0 h 941832"/>
                <a:gd name="T24" fmla="*/ 4311396 w 4311396"/>
                <a:gd name="T25" fmla="*/ 941832 h 941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4311396" h="941832">
                  <a:moveTo>
                    <a:pt x="0" y="0"/>
                  </a:moveTo>
                  <a:lnTo>
                    <a:pt x="24385" y="0"/>
                  </a:lnTo>
                  <a:lnTo>
                    <a:pt x="24384" y="917448"/>
                  </a:lnTo>
                  <a:lnTo>
                    <a:pt x="4285489" y="917448"/>
                  </a:lnTo>
                  <a:lnTo>
                    <a:pt x="4285489" y="0"/>
                  </a:lnTo>
                  <a:lnTo>
                    <a:pt x="4311396" y="0"/>
                  </a:lnTo>
                  <a:lnTo>
                    <a:pt x="4311396" y="929640"/>
                  </a:lnTo>
                  <a:cubicBezTo>
                    <a:pt x="4311396" y="935736"/>
                    <a:pt x="4305301" y="941832"/>
                    <a:pt x="4297680" y="941832"/>
                  </a:cubicBezTo>
                  <a:lnTo>
                    <a:pt x="12192" y="941832"/>
                  </a:lnTo>
                  <a:cubicBezTo>
                    <a:pt x="4572" y="941832"/>
                    <a:pt x="0" y="935736"/>
                    <a:pt x="0" y="929640"/>
                  </a:cubicBezTo>
                  <a:lnTo>
                    <a:pt x="0" y="0"/>
                  </a:lnTo>
                  <a:close/>
                </a:path>
              </a:pathLst>
            </a:custGeom>
            <a:solidFill>
              <a:srgbClr val="17375E"/>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 name="Rectangle 30">
              <a:extLst>
                <a:ext uri="{FF2B5EF4-FFF2-40B4-BE49-F238E27FC236}">
                  <a16:creationId xmlns:a16="http://schemas.microsoft.com/office/drawing/2014/main" xmlns="" id="{D5B878BF-DD82-4BCD-A344-DE0DED97C709}"/>
                </a:ext>
              </a:extLst>
            </p:cNvPr>
            <p:cNvSpPr>
              <a:spLocks noChangeArrowheads="1"/>
            </p:cNvSpPr>
            <p:nvPr/>
          </p:nvSpPr>
          <p:spPr bwMode="auto">
            <a:xfrm>
              <a:off x="49209" y="16866"/>
              <a:ext cx="40904"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подтверждающие законное </a:t>
              </a:r>
              <a:endParaRPr kumimoji="0" lang="en-US" altLang="ru-RU" sz="1800" b="0" i="0" u="none" strike="noStrike" cap="none" normalizeH="0" baseline="0">
                <a:ln>
                  <a:noFill/>
                </a:ln>
                <a:solidFill>
                  <a:schemeClr val="tx1"/>
                </a:solidFill>
                <a:effectLst/>
                <a:latin typeface="Arial" panose="020B0604020202020204" pitchFamily="34" charset="0"/>
              </a:endParaRPr>
            </a:p>
          </p:txBody>
        </p:sp>
        <p:sp>
          <p:nvSpPr>
            <p:cNvPr id="16" name="Rectangle 31">
              <a:extLst>
                <a:ext uri="{FF2B5EF4-FFF2-40B4-BE49-F238E27FC236}">
                  <a16:creationId xmlns:a16="http://schemas.microsoft.com/office/drawing/2014/main" xmlns="" id="{376E37DD-296A-42B9-9DD8-02A6F9D1A4AA}"/>
                </a:ext>
              </a:extLst>
            </p:cNvPr>
            <p:cNvSpPr>
              <a:spLocks noChangeArrowheads="1"/>
            </p:cNvSpPr>
            <p:nvPr/>
          </p:nvSpPr>
          <p:spPr bwMode="auto">
            <a:xfrm>
              <a:off x="45598" y="19914"/>
              <a:ext cx="49723"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использование материалов фонда</a:t>
              </a:r>
              <a:endParaRPr kumimoji="0" lang="en-US" altLang="ru-RU" sz="1800" b="0" i="0" u="none" strike="noStrike" cap="none" normalizeH="0" baseline="0">
                <a:ln>
                  <a:noFill/>
                </a:ln>
                <a:solidFill>
                  <a:schemeClr val="tx1"/>
                </a:solidFill>
                <a:effectLst/>
                <a:latin typeface="Arial" panose="020B0604020202020204" pitchFamily="34" charset="0"/>
              </a:endParaRPr>
            </a:p>
          </p:txBody>
        </p:sp>
        <p:sp>
          <p:nvSpPr>
            <p:cNvPr id="17" name="Shape 32">
              <a:extLst>
                <a:ext uri="{FF2B5EF4-FFF2-40B4-BE49-F238E27FC236}">
                  <a16:creationId xmlns:a16="http://schemas.microsoft.com/office/drawing/2014/main" xmlns="" id="{4C9B24CC-31F5-4D17-9372-D351102731A2}"/>
                </a:ext>
              </a:extLst>
            </p:cNvPr>
            <p:cNvSpPr>
              <a:spLocks/>
            </p:cNvSpPr>
            <p:nvPr/>
          </p:nvSpPr>
          <p:spPr bwMode="auto">
            <a:xfrm>
              <a:off x="5715" y="16428"/>
              <a:ext cx="34290" cy="12147"/>
            </a:xfrm>
            <a:custGeom>
              <a:avLst/>
              <a:gdLst>
                <a:gd name="T0" fmla="*/ 0 w 3429000"/>
                <a:gd name="T1" fmla="*/ 0 h 1214628"/>
                <a:gd name="T2" fmla="*/ 3429000 w 3429000"/>
                <a:gd name="T3" fmla="*/ 0 h 1214628"/>
                <a:gd name="T4" fmla="*/ 3428999 w 3429000"/>
                <a:gd name="T5" fmla="*/ 1214628 h 1214628"/>
                <a:gd name="T6" fmla="*/ 0 w 3429000"/>
                <a:gd name="T7" fmla="*/ 1214628 h 1214628"/>
                <a:gd name="T8" fmla="*/ 0 w 3429000"/>
                <a:gd name="T9" fmla="*/ 0 h 1214628"/>
                <a:gd name="T10" fmla="*/ 0 w 3429000"/>
                <a:gd name="T11" fmla="*/ 0 h 1214628"/>
                <a:gd name="T12" fmla="*/ 3429000 w 3429000"/>
                <a:gd name="T13" fmla="*/ 1214628 h 1214628"/>
              </a:gdLst>
              <a:ahLst/>
              <a:cxnLst>
                <a:cxn ang="0">
                  <a:pos x="T0" y="T1"/>
                </a:cxn>
                <a:cxn ang="0">
                  <a:pos x="T2" y="T3"/>
                </a:cxn>
                <a:cxn ang="0">
                  <a:pos x="T4" y="T5"/>
                </a:cxn>
                <a:cxn ang="0">
                  <a:pos x="T6" y="T7"/>
                </a:cxn>
                <a:cxn ang="0">
                  <a:pos x="T8" y="T9"/>
                </a:cxn>
              </a:cxnLst>
              <a:rect l="T10" t="T11" r="T12" b="T13"/>
              <a:pathLst>
                <a:path w="3429000" h="1214628">
                  <a:moveTo>
                    <a:pt x="0" y="0"/>
                  </a:moveTo>
                  <a:lnTo>
                    <a:pt x="3429000" y="0"/>
                  </a:lnTo>
                  <a:lnTo>
                    <a:pt x="3428999" y="1214628"/>
                  </a:lnTo>
                  <a:lnTo>
                    <a:pt x="0" y="1214628"/>
                  </a:lnTo>
                  <a:lnTo>
                    <a:pt x="0" y="0"/>
                  </a:lnTo>
                  <a:close/>
                </a:path>
              </a:pathLst>
            </a:custGeom>
            <a:solidFill>
              <a:srgbClr val="FFFFFF"/>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Shape 33">
              <a:extLst>
                <a:ext uri="{FF2B5EF4-FFF2-40B4-BE49-F238E27FC236}">
                  <a16:creationId xmlns:a16="http://schemas.microsoft.com/office/drawing/2014/main" xmlns="" id="{551A2790-AEA8-4B71-8014-8E81B1EDA073}"/>
                </a:ext>
              </a:extLst>
            </p:cNvPr>
            <p:cNvSpPr>
              <a:spLocks/>
            </p:cNvSpPr>
            <p:nvPr/>
          </p:nvSpPr>
          <p:spPr bwMode="auto">
            <a:xfrm>
              <a:off x="5593" y="16428"/>
              <a:ext cx="34549" cy="12284"/>
            </a:xfrm>
            <a:custGeom>
              <a:avLst/>
              <a:gdLst>
                <a:gd name="T0" fmla="*/ 0 w 3454905"/>
                <a:gd name="T1" fmla="*/ 0 h 1228344"/>
                <a:gd name="T2" fmla="*/ 25908 w 3454905"/>
                <a:gd name="T3" fmla="*/ 0 h 1228344"/>
                <a:gd name="T4" fmla="*/ 25908 w 3454905"/>
                <a:gd name="T5" fmla="*/ 1202436 h 1228344"/>
                <a:gd name="T6" fmla="*/ 3428996 w 3454905"/>
                <a:gd name="T7" fmla="*/ 1202436 h 1228344"/>
                <a:gd name="T8" fmla="*/ 3428997 w 3454905"/>
                <a:gd name="T9" fmla="*/ 0 h 1228344"/>
                <a:gd name="T10" fmla="*/ 3454905 w 3454905"/>
                <a:gd name="T11" fmla="*/ 0 h 1228344"/>
                <a:gd name="T12" fmla="*/ 3454905 w 3454905"/>
                <a:gd name="T13" fmla="*/ 1214628 h 1228344"/>
                <a:gd name="T14" fmla="*/ 3441189 w 3454905"/>
                <a:gd name="T15" fmla="*/ 1228344 h 1228344"/>
                <a:gd name="T16" fmla="*/ 12192 w 3454905"/>
                <a:gd name="T17" fmla="*/ 1228344 h 1228344"/>
                <a:gd name="T18" fmla="*/ 0 w 3454905"/>
                <a:gd name="T19" fmla="*/ 1214628 h 1228344"/>
                <a:gd name="T20" fmla="*/ 0 w 3454905"/>
                <a:gd name="T21" fmla="*/ 0 h 1228344"/>
                <a:gd name="T22" fmla="*/ 0 w 3454905"/>
                <a:gd name="T23" fmla="*/ 0 h 1228344"/>
                <a:gd name="T24" fmla="*/ 3454905 w 3454905"/>
                <a:gd name="T25" fmla="*/ 1228344 h 1228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3454905" h="1228344">
                  <a:moveTo>
                    <a:pt x="0" y="0"/>
                  </a:moveTo>
                  <a:lnTo>
                    <a:pt x="25908" y="0"/>
                  </a:lnTo>
                  <a:lnTo>
                    <a:pt x="25908" y="1202436"/>
                  </a:lnTo>
                  <a:lnTo>
                    <a:pt x="3428996" y="1202436"/>
                  </a:lnTo>
                  <a:lnTo>
                    <a:pt x="3428997" y="0"/>
                  </a:lnTo>
                  <a:lnTo>
                    <a:pt x="3454905" y="0"/>
                  </a:lnTo>
                  <a:lnTo>
                    <a:pt x="3454905" y="1214628"/>
                  </a:lnTo>
                  <a:cubicBezTo>
                    <a:pt x="3454905" y="1222248"/>
                    <a:pt x="3448808" y="1228344"/>
                    <a:pt x="3441189" y="1228344"/>
                  </a:cubicBezTo>
                  <a:lnTo>
                    <a:pt x="12192" y="1228344"/>
                  </a:lnTo>
                  <a:cubicBezTo>
                    <a:pt x="6096" y="1228344"/>
                    <a:pt x="0" y="1222248"/>
                    <a:pt x="0" y="1214628"/>
                  </a:cubicBezTo>
                  <a:lnTo>
                    <a:pt x="0" y="0"/>
                  </a:lnTo>
                  <a:close/>
                </a:path>
              </a:pathLst>
            </a:custGeom>
            <a:solidFill>
              <a:srgbClr val="17375E"/>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Rectangle 34">
              <a:extLst>
                <a:ext uri="{FF2B5EF4-FFF2-40B4-BE49-F238E27FC236}">
                  <a16:creationId xmlns:a16="http://schemas.microsoft.com/office/drawing/2014/main" xmlns="" id="{FE75292C-3516-4B12-8605-4132430C2440}"/>
                </a:ext>
              </a:extLst>
            </p:cNvPr>
            <p:cNvSpPr>
              <a:spLocks noChangeArrowheads="1"/>
            </p:cNvSpPr>
            <p:nvPr/>
          </p:nvSpPr>
          <p:spPr bwMode="auto">
            <a:xfrm>
              <a:off x="11094" y="13925"/>
              <a:ext cx="32026"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Не указаны основные </a:t>
              </a:r>
              <a:endParaRPr kumimoji="0" lang="en-US" altLang="ru-RU" sz="1800" b="0" i="0" u="none" strike="noStrike" cap="none" normalizeH="0" baseline="0">
                <a:ln>
                  <a:noFill/>
                </a:ln>
                <a:solidFill>
                  <a:schemeClr val="tx1"/>
                </a:solidFill>
                <a:effectLst/>
                <a:latin typeface="Arial" panose="020B0604020202020204" pitchFamily="34" charset="0"/>
              </a:endParaRPr>
            </a:p>
          </p:txBody>
        </p:sp>
        <p:sp>
          <p:nvSpPr>
            <p:cNvPr id="20" name="Rectangle 35">
              <a:extLst>
                <a:ext uri="{FF2B5EF4-FFF2-40B4-BE49-F238E27FC236}">
                  <a16:creationId xmlns:a16="http://schemas.microsoft.com/office/drawing/2014/main" xmlns="" id="{503E9700-0A24-49DC-8E47-7CAA42539040}"/>
                </a:ext>
              </a:extLst>
            </p:cNvPr>
            <p:cNvSpPr>
              <a:spLocks noChangeArrowheads="1"/>
            </p:cNvSpPr>
            <p:nvPr/>
          </p:nvSpPr>
          <p:spPr bwMode="auto">
            <a:xfrm>
              <a:off x="11018" y="16973"/>
              <a:ext cx="32227"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dirty="0" err="1">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реквизиты</a:t>
              </a:r>
              <a:r>
                <a:rPr kumimoji="0" lang="en-US" altLang="ru-RU" sz="1600" b="0" i="0" u="none" strike="noStrike" cap="none" normalizeH="0" baseline="0" dirty="0">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 </a:t>
              </a:r>
              <a:r>
                <a:rPr kumimoji="0" lang="en-US" altLang="ru-RU" sz="1600" b="0" i="0" u="none" strike="noStrike" cap="none" normalizeH="0" baseline="0" dirty="0" err="1">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документа</a:t>
              </a:r>
              <a:r>
                <a:rPr kumimoji="0" lang="en-US" altLang="ru-RU" sz="1600" b="0" i="0" u="none" strike="noStrike" cap="none" normalizeH="0" baseline="0" dirty="0">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 </a:t>
              </a:r>
              <a:endParaRPr kumimoji="0" lang="en-US" altLang="ru-RU" sz="1800" b="0" i="0" u="none" strike="noStrike" cap="none" normalizeH="0" baseline="0" dirty="0">
                <a:ln>
                  <a:noFill/>
                </a:ln>
                <a:solidFill>
                  <a:schemeClr val="tx1"/>
                </a:solidFill>
                <a:effectLst/>
                <a:latin typeface="Arial" panose="020B0604020202020204" pitchFamily="34" charset="0"/>
              </a:endParaRPr>
            </a:p>
          </p:txBody>
        </p:sp>
        <p:sp>
          <p:nvSpPr>
            <p:cNvPr id="21" name="Rectangle 15501">
              <a:extLst>
                <a:ext uri="{FF2B5EF4-FFF2-40B4-BE49-F238E27FC236}">
                  <a16:creationId xmlns:a16="http://schemas.microsoft.com/office/drawing/2014/main" xmlns="" id="{71144147-EF7E-40DD-B887-5B7AD85546B8}"/>
                </a:ext>
              </a:extLst>
            </p:cNvPr>
            <p:cNvSpPr>
              <a:spLocks noChangeArrowheads="1"/>
            </p:cNvSpPr>
            <p:nvPr/>
          </p:nvSpPr>
          <p:spPr bwMode="auto">
            <a:xfrm>
              <a:off x="7421" y="20021"/>
              <a:ext cx="1026"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2000" b="0" i="0" u="none" strike="noStrike" cap="none" normalizeH="0" baseline="0">
                  <a:ln>
                    <a:noFill/>
                  </a:ln>
                  <a:solidFill>
                    <a:srgbClr val="002060"/>
                  </a:solidFill>
                  <a:effectLst/>
                  <a:ea typeface="Calibri" panose="020F0502020204030204" pitchFamily="34" charset="0"/>
                  <a:cs typeface="Calibri" panose="020F0502020204030204" pitchFamily="34" charset="0"/>
                </a:rPr>
                <a:t>(</a:t>
              </a:r>
              <a:endParaRPr kumimoji="0" lang="en-US" altLang="ru-RU" sz="1800" b="0" i="0" u="none" strike="noStrike" cap="none" normalizeH="0" baseline="0">
                <a:ln>
                  <a:noFill/>
                </a:ln>
                <a:solidFill>
                  <a:schemeClr val="tx1"/>
                </a:solidFill>
                <a:effectLst/>
                <a:latin typeface="Arial" panose="020B0604020202020204" pitchFamily="34" charset="0"/>
              </a:endParaRPr>
            </a:p>
          </p:txBody>
        </p:sp>
        <p:sp>
          <p:nvSpPr>
            <p:cNvPr id="22" name="Rectangle 15502">
              <a:extLst>
                <a:ext uri="{FF2B5EF4-FFF2-40B4-BE49-F238E27FC236}">
                  <a16:creationId xmlns:a16="http://schemas.microsoft.com/office/drawing/2014/main" xmlns="" id="{E2B82BC4-26CF-422F-91DA-0DE0B27BA8B4}"/>
                </a:ext>
              </a:extLst>
            </p:cNvPr>
            <p:cNvSpPr>
              <a:spLocks noChangeArrowheads="1"/>
            </p:cNvSpPr>
            <p:nvPr/>
          </p:nvSpPr>
          <p:spPr bwMode="auto">
            <a:xfrm>
              <a:off x="8198" y="20021"/>
              <a:ext cx="40789"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наименование и реквизиты </a:t>
              </a:r>
              <a:endParaRPr kumimoji="0" lang="en-US" altLang="ru-RU" sz="1800" b="0" i="0" u="none" strike="noStrike" cap="none" normalizeH="0" baseline="0">
                <a:ln>
                  <a:noFill/>
                </a:ln>
                <a:solidFill>
                  <a:schemeClr val="tx1"/>
                </a:solidFill>
                <a:effectLst/>
                <a:latin typeface="Arial" panose="020B0604020202020204" pitchFamily="34" charset="0"/>
              </a:endParaRPr>
            </a:p>
          </p:txBody>
        </p:sp>
        <p:sp>
          <p:nvSpPr>
            <p:cNvPr id="23" name="Rectangle 37">
              <a:extLst>
                <a:ext uri="{FF2B5EF4-FFF2-40B4-BE49-F238E27FC236}">
                  <a16:creationId xmlns:a16="http://schemas.microsoft.com/office/drawing/2014/main" xmlns="" id="{4BB31477-A719-4202-9220-40325C6769DC}"/>
                </a:ext>
              </a:extLst>
            </p:cNvPr>
            <p:cNvSpPr>
              <a:spLocks noChangeArrowheads="1"/>
            </p:cNvSpPr>
            <p:nvPr/>
          </p:nvSpPr>
          <p:spPr bwMode="auto">
            <a:xfrm>
              <a:off x="10012" y="23069"/>
              <a:ext cx="34906"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dirty="0" err="1">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документа</a:t>
              </a:r>
              <a:r>
                <a:rPr kumimoji="0" lang="en-US" altLang="ru-RU" sz="1600" b="0" i="0" u="none" strike="noStrike" cap="none" normalizeH="0" baseline="0" dirty="0">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 о </a:t>
              </a:r>
              <a:r>
                <a:rPr kumimoji="0" lang="en-US" altLang="ru-RU" sz="1600" b="0" i="0" u="none" strike="noStrike" cap="none" normalizeH="0" baseline="0" dirty="0" err="1">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получении</a:t>
              </a:r>
              <a:r>
                <a:rPr kumimoji="0" lang="en-US" altLang="ru-RU" sz="1600" b="0" i="0" u="none" strike="noStrike" cap="none" normalizeH="0" baseline="0" dirty="0">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 </a:t>
              </a:r>
              <a:endParaRPr kumimoji="0" lang="en-US" altLang="ru-RU" sz="1800" b="0" i="0" u="none" strike="noStrike" cap="none" normalizeH="0" baseline="0" dirty="0">
                <a:ln>
                  <a:noFill/>
                </a:ln>
                <a:solidFill>
                  <a:schemeClr val="tx1"/>
                </a:solidFill>
                <a:effectLst/>
                <a:latin typeface="Arial" panose="020B0604020202020204" pitchFamily="34" charset="0"/>
              </a:endParaRPr>
            </a:p>
          </p:txBody>
        </p:sp>
        <p:sp>
          <p:nvSpPr>
            <p:cNvPr id="24" name="Rectangle 38">
              <a:extLst>
                <a:ext uri="{FF2B5EF4-FFF2-40B4-BE49-F238E27FC236}">
                  <a16:creationId xmlns:a16="http://schemas.microsoft.com/office/drawing/2014/main" xmlns="" id="{14C6336A-54C1-4E9F-A2D1-C64738ED53FE}"/>
                </a:ext>
              </a:extLst>
            </p:cNvPr>
            <p:cNvSpPr>
              <a:spLocks noChangeArrowheads="1"/>
            </p:cNvSpPr>
            <p:nvPr/>
          </p:nvSpPr>
          <p:spPr bwMode="auto">
            <a:xfrm>
              <a:off x="14112" y="25128"/>
              <a:ext cx="24876"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600" b="0" i="0" u="none" strike="noStrike" cap="none" normalizeH="0" baseline="0" dirty="0" err="1">
                  <a:ln>
                    <a:noFill/>
                  </a:ln>
                  <a:solidFill>
                    <a:srgbClr val="002060"/>
                  </a:solidFill>
                  <a:effectLst/>
                  <a:latin typeface="Times New Roman" panose="02020603050405020304" pitchFamily="18" charset="0"/>
                  <a:ea typeface="Calibri" panose="020F0502020204030204" pitchFamily="34" charset="0"/>
                  <a:cs typeface="Times New Roman" panose="02020603050405020304" pitchFamily="18" charset="0"/>
                </a:rPr>
                <a:t>ортофотопланов</a:t>
              </a:r>
              <a:r>
                <a:rPr kumimoji="0" lang="en-US" altLang="ru-RU" sz="2000" b="0" i="0" u="none" strike="noStrike" cap="none" normalizeH="0" baseline="0" dirty="0">
                  <a:ln>
                    <a:noFill/>
                  </a:ln>
                  <a:solidFill>
                    <a:srgbClr val="002060"/>
                  </a:solidFill>
                  <a:effectLst/>
                  <a:ea typeface="Calibri" panose="020F0502020204030204" pitchFamily="34" charset="0"/>
                  <a:cs typeface="Calibri" panose="020F0502020204030204" pitchFamily="34" charset="0"/>
                </a:rPr>
                <a:t>)</a:t>
              </a:r>
              <a:endParaRPr kumimoji="0" lang="en-US" altLang="ru-RU" sz="1800" b="0" i="0" u="none" strike="noStrike" cap="none" normalizeH="0" baseline="0" dirty="0">
                <a:ln>
                  <a:noFill/>
                </a:ln>
                <a:solidFill>
                  <a:schemeClr val="tx1"/>
                </a:solidFill>
                <a:effectLst/>
                <a:latin typeface="Arial" panose="020B0604020202020204" pitchFamily="34" charset="0"/>
              </a:endParaRPr>
            </a:p>
          </p:txBody>
        </p:sp>
        <p:pic>
          <p:nvPicPr>
            <p:cNvPr id="25" name="Picture 40">
              <a:extLst>
                <a:ext uri="{FF2B5EF4-FFF2-40B4-BE49-F238E27FC236}">
                  <a16:creationId xmlns:a16="http://schemas.microsoft.com/office/drawing/2014/main" xmlns="" id="{DB0CBD30-3A5C-436B-90F3-3B4C5DF1EB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97" y="38587"/>
              <a:ext cx="82189" cy="8474"/>
            </a:xfrm>
            <a:prstGeom prst="rect">
              <a:avLst/>
            </a:prstGeom>
            <a:noFill/>
            <a:extLst>
              <a:ext uri="{909E8E84-426E-40DD-AFC4-6F175D3DCCD1}">
                <a14:hiddenFill xmlns:a14="http://schemas.microsoft.com/office/drawing/2010/main">
                  <a:solidFill>
                    <a:srgbClr val="FFFFFF"/>
                  </a:solidFill>
                </a14:hiddenFill>
              </a:ext>
            </a:extLst>
          </p:spPr>
        </p:pic>
        <p:sp>
          <p:nvSpPr>
            <p:cNvPr id="26" name="Shape 42">
              <a:extLst>
                <a:ext uri="{FF2B5EF4-FFF2-40B4-BE49-F238E27FC236}">
                  <a16:creationId xmlns:a16="http://schemas.microsoft.com/office/drawing/2014/main" xmlns="" id="{53483757-F04F-40FD-A20C-27D4F9B81EBF}"/>
                </a:ext>
              </a:extLst>
            </p:cNvPr>
            <p:cNvSpPr>
              <a:spLocks/>
            </p:cNvSpPr>
            <p:nvPr/>
          </p:nvSpPr>
          <p:spPr bwMode="auto">
            <a:xfrm>
              <a:off x="4876" y="32019"/>
              <a:ext cx="40851" cy="6690"/>
            </a:xfrm>
            <a:custGeom>
              <a:avLst/>
              <a:gdLst>
                <a:gd name="T0" fmla="*/ 13716 w 4085081"/>
                <a:gd name="T1" fmla="*/ 0 h 669036"/>
                <a:gd name="T2" fmla="*/ 4085081 w 4085081"/>
                <a:gd name="T3" fmla="*/ 0 h 669036"/>
                <a:gd name="T4" fmla="*/ 4085081 w 4085081"/>
                <a:gd name="T5" fmla="*/ 25908 h 669036"/>
                <a:gd name="T6" fmla="*/ 25908 w 4085081"/>
                <a:gd name="T7" fmla="*/ 25908 h 669036"/>
                <a:gd name="T8" fmla="*/ 25908 w 4085081"/>
                <a:gd name="T9" fmla="*/ 643128 h 669036"/>
                <a:gd name="T10" fmla="*/ 4085081 w 4085081"/>
                <a:gd name="T11" fmla="*/ 643128 h 669036"/>
                <a:gd name="T12" fmla="*/ 4085081 w 4085081"/>
                <a:gd name="T13" fmla="*/ 669036 h 669036"/>
                <a:gd name="T14" fmla="*/ 13716 w 4085081"/>
                <a:gd name="T15" fmla="*/ 669036 h 669036"/>
                <a:gd name="T16" fmla="*/ 0 w 4085081"/>
                <a:gd name="T17" fmla="*/ 656844 h 669036"/>
                <a:gd name="T18" fmla="*/ 0 w 4085081"/>
                <a:gd name="T19" fmla="*/ 13716 h 669036"/>
                <a:gd name="T20" fmla="*/ 13716 w 4085081"/>
                <a:gd name="T21" fmla="*/ 0 h 669036"/>
                <a:gd name="T22" fmla="*/ 0 w 4085081"/>
                <a:gd name="T23" fmla="*/ 0 h 669036"/>
                <a:gd name="T24" fmla="*/ 4085081 w 4085081"/>
                <a:gd name="T25" fmla="*/ 669036 h 669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4085081" h="669036">
                  <a:moveTo>
                    <a:pt x="13716" y="0"/>
                  </a:moveTo>
                  <a:lnTo>
                    <a:pt x="4085081" y="0"/>
                  </a:lnTo>
                  <a:lnTo>
                    <a:pt x="4085081" y="25908"/>
                  </a:lnTo>
                  <a:lnTo>
                    <a:pt x="25908" y="25908"/>
                  </a:lnTo>
                  <a:lnTo>
                    <a:pt x="25908" y="643128"/>
                  </a:lnTo>
                  <a:lnTo>
                    <a:pt x="4085081" y="643128"/>
                  </a:lnTo>
                  <a:lnTo>
                    <a:pt x="4085081" y="669036"/>
                  </a:lnTo>
                  <a:lnTo>
                    <a:pt x="13716" y="669036"/>
                  </a:lnTo>
                  <a:cubicBezTo>
                    <a:pt x="6096" y="669036"/>
                    <a:pt x="0" y="662940"/>
                    <a:pt x="0" y="656844"/>
                  </a:cubicBezTo>
                  <a:lnTo>
                    <a:pt x="0" y="13716"/>
                  </a:lnTo>
                  <a:cubicBezTo>
                    <a:pt x="0" y="6096"/>
                    <a:pt x="6096" y="0"/>
                    <a:pt x="13716" y="0"/>
                  </a:cubicBezTo>
                  <a:close/>
                </a:path>
              </a:pathLst>
            </a:custGeom>
            <a:solidFill>
              <a:srgbClr val="17375E"/>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7" name="Shape 43">
              <a:extLst>
                <a:ext uri="{FF2B5EF4-FFF2-40B4-BE49-F238E27FC236}">
                  <a16:creationId xmlns:a16="http://schemas.microsoft.com/office/drawing/2014/main" xmlns="" id="{6E05798B-7FA0-48CF-820E-B6F2E03F178E}"/>
                </a:ext>
              </a:extLst>
            </p:cNvPr>
            <p:cNvSpPr>
              <a:spLocks/>
            </p:cNvSpPr>
            <p:nvPr/>
          </p:nvSpPr>
          <p:spPr bwMode="auto">
            <a:xfrm>
              <a:off x="45727" y="32019"/>
              <a:ext cx="40851" cy="6690"/>
            </a:xfrm>
            <a:custGeom>
              <a:avLst/>
              <a:gdLst>
                <a:gd name="T0" fmla="*/ 0 w 4085080"/>
                <a:gd name="T1" fmla="*/ 0 h 669036"/>
                <a:gd name="T2" fmla="*/ 4071365 w 4085080"/>
                <a:gd name="T3" fmla="*/ 0 h 669036"/>
                <a:gd name="T4" fmla="*/ 4085080 w 4085080"/>
                <a:gd name="T5" fmla="*/ 13716 h 669036"/>
                <a:gd name="T6" fmla="*/ 4085080 w 4085080"/>
                <a:gd name="T7" fmla="*/ 656844 h 669036"/>
                <a:gd name="T8" fmla="*/ 4071365 w 4085080"/>
                <a:gd name="T9" fmla="*/ 669036 h 669036"/>
                <a:gd name="T10" fmla="*/ 0 w 4085080"/>
                <a:gd name="T11" fmla="*/ 669036 h 669036"/>
                <a:gd name="T12" fmla="*/ 0 w 4085080"/>
                <a:gd name="T13" fmla="*/ 643128 h 669036"/>
                <a:gd name="T14" fmla="*/ 4059173 w 4085080"/>
                <a:gd name="T15" fmla="*/ 643128 h 669036"/>
                <a:gd name="T16" fmla="*/ 4059173 w 4085080"/>
                <a:gd name="T17" fmla="*/ 25908 h 669036"/>
                <a:gd name="T18" fmla="*/ 0 w 4085080"/>
                <a:gd name="T19" fmla="*/ 25908 h 669036"/>
                <a:gd name="T20" fmla="*/ 0 w 4085080"/>
                <a:gd name="T21" fmla="*/ 0 h 669036"/>
                <a:gd name="T22" fmla="*/ 0 w 4085080"/>
                <a:gd name="T23" fmla="*/ 0 h 669036"/>
                <a:gd name="T24" fmla="*/ 4085080 w 4085080"/>
                <a:gd name="T25" fmla="*/ 669036 h 669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4085080" h="669036">
                  <a:moveTo>
                    <a:pt x="0" y="0"/>
                  </a:moveTo>
                  <a:lnTo>
                    <a:pt x="4071365" y="0"/>
                  </a:lnTo>
                  <a:cubicBezTo>
                    <a:pt x="4078984" y="0"/>
                    <a:pt x="4085080" y="6097"/>
                    <a:pt x="4085080" y="13716"/>
                  </a:cubicBezTo>
                  <a:lnTo>
                    <a:pt x="4085080" y="656844"/>
                  </a:lnTo>
                  <a:cubicBezTo>
                    <a:pt x="4085080" y="662941"/>
                    <a:pt x="4078984" y="669036"/>
                    <a:pt x="4071365" y="669036"/>
                  </a:cubicBezTo>
                  <a:lnTo>
                    <a:pt x="0" y="669036"/>
                  </a:lnTo>
                  <a:lnTo>
                    <a:pt x="0" y="643128"/>
                  </a:lnTo>
                  <a:lnTo>
                    <a:pt x="4059173" y="643128"/>
                  </a:lnTo>
                  <a:lnTo>
                    <a:pt x="4059173" y="25908"/>
                  </a:lnTo>
                  <a:lnTo>
                    <a:pt x="0" y="25908"/>
                  </a:lnTo>
                  <a:lnTo>
                    <a:pt x="0" y="0"/>
                  </a:lnTo>
                  <a:close/>
                </a:path>
              </a:pathLst>
            </a:custGeom>
            <a:solidFill>
              <a:srgbClr val="17375E"/>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8" name="Shape 44">
              <a:extLst>
                <a:ext uri="{FF2B5EF4-FFF2-40B4-BE49-F238E27FC236}">
                  <a16:creationId xmlns:a16="http://schemas.microsoft.com/office/drawing/2014/main" xmlns="" id="{3040A737-2094-4DEF-A518-7477D52E4621}"/>
                </a:ext>
              </a:extLst>
            </p:cNvPr>
            <p:cNvSpPr>
              <a:spLocks/>
            </p:cNvSpPr>
            <p:nvPr/>
          </p:nvSpPr>
          <p:spPr bwMode="auto">
            <a:xfrm>
              <a:off x="86319" y="32125"/>
              <a:ext cx="289" cy="6615"/>
            </a:xfrm>
            <a:custGeom>
              <a:avLst/>
              <a:gdLst>
                <a:gd name="T0" fmla="*/ 3048 w 28956"/>
                <a:gd name="T1" fmla="*/ 0 h 661416"/>
                <a:gd name="T2" fmla="*/ 28956 w 28956"/>
                <a:gd name="T3" fmla="*/ 0 h 661416"/>
                <a:gd name="T4" fmla="*/ 25908 w 28956"/>
                <a:gd name="T5" fmla="*/ 661416 h 661416"/>
                <a:gd name="T6" fmla="*/ 0 w 28956"/>
                <a:gd name="T7" fmla="*/ 661416 h 661416"/>
                <a:gd name="T8" fmla="*/ 3048 w 28956"/>
                <a:gd name="T9" fmla="*/ 0 h 661416"/>
                <a:gd name="T10" fmla="*/ 0 w 28956"/>
                <a:gd name="T11" fmla="*/ 0 h 661416"/>
                <a:gd name="T12" fmla="*/ 28956 w 28956"/>
                <a:gd name="T13" fmla="*/ 661416 h 661416"/>
              </a:gdLst>
              <a:ahLst/>
              <a:cxnLst>
                <a:cxn ang="0">
                  <a:pos x="T0" y="T1"/>
                </a:cxn>
                <a:cxn ang="0">
                  <a:pos x="T2" y="T3"/>
                </a:cxn>
                <a:cxn ang="0">
                  <a:pos x="T4" y="T5"/>
                </a:cxn>
                <a:cxn ang="0">
                  <a:pos x="T6" y="T7"/>
                </a:cxn>
                <a:cxn ang="0">
                  <a:pos x="T8" y="T9"/>
                </a:cxn>
              </a:cxnLst>
              <a:rect l="T10" t="T11" r="T12" b="T13"/>
              <a:pathLst>
                <a:path w="28956" h="661416">
                  <a:moveTo>
                    <a:pt x="3048" y="0"/>
                  </a:moveTo>
                  <a:lnTo>
                    <a:pt x="28956" y="0"/>
                  </a:lnTo>
                  <a:lnTo>
                    <a:pt x="25908" y="661416"/>
                  </a:lnTo>
                  <a:lnTo>
                    <a:pt x="0" y="661416"/>
                  </a:lnTo>
                  <a:lnTo>
                    <a:pt x="3048" y="0"/>
                  </a:lnTo>
                  <a:close/>
                </a:path>
              </a:pathLst>
            </a:custGeom>
            <a:solidFill>
              <a:srgbClr val="17375E"/>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9" name="Rectangle 45">
              <a:extLst>
                <a:ext uri="{FF2B5EF4-FFF2-40B4-BE49-F238E27FC236}">
                  <a16:creationId xmlns:a16="http://schemas.microsoft.com/office/drawing/2014/main" xmlns="" id="{39382595-F45D-4301-B39F-212555AC266F}"/>
                </a:ext>
              </a:extLst>
            </p:cNvPr>
            <p:cNvSpPr>
              <a:spLocks noChangeArrowheads="1"/>
            </p:cNvSpPr>
            <p:nvPr/>
          </p:nvSpPr>
          <p:spPr bwMode="auto">
            <a:xfrm>
              <a:off x="7762" y="33920"/>
              <a:ext cx="82351"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2000" b="0" i="0" u="none" strike="noStrike" cap="none" normalizeH="0" baseline="0" dirty="0">
                  <a:ln>
                    <a:noFill/>
                  </a:ln>
                  <a:solidFill>
                    <a:srgbClr val="00B050"/>
                  </a:solidFill>
                  <a:effectLst/>
                  <a:latin typeface="Arial" panose="020B0604020202020204" pitchFamily="34" charset="0"/>
                  <a:ea typeface="Calibri" panose="020F0502020204030204" pitchFamily="34" charset="0"/>
                  <a:cs typeface="Calibri" panose="020F0502020204030204" pitchFamily="34" charset="0"/>
                </a:rPr>
                <a:t>Верное указание наименования и реквизитов документа</a:t>
              </a:r>
              <a:endParaRPr kumimoji="0" lang="ru-RU" altLang="ru-RU" sz="1800" b="0" i="0" u="none" strike="noStrike" cap="none" normalizeH="0" baseline="0" dirty="0">
                <a:ln>
                  <a:noFill/>
                </a:ln>
                <a:solidFill>
                  <a:schemeClr val="tx1"/>
                </a:solidFill>
                <a:effectLst/>
                <a:latin typeface="Arial" panose="020B0604020202020204" pitchFamily="34" charset="0"/>
              </a:endParaRPr>
            </a:p>
          </p:txBody>
        </p:sp>
        <p:sp>
          <p:nvSpPr>
            <p:cNvPr id="30" name="Rectangle 46">
              <a:extLst>
                <a:ext uri="{FF2B5EF4-FFF2-40B4-BE49-F238E27FC236}">
                  <a16:creationId xmlns:a16="http://schemas.microsoft.com/office/drawing/2014/main" xmlns="" id="{6BD33424-DE5C-4646-A38C-FAAB34C52CDB}"/>
                </a:ext>
              </a:extLst>
            </p:cNvPr>
            <p:cNvSpPr>
              <a:spLocks noChangeArrowheads="1"/>
            </p:cNvSpPr>
            <p:nvPr/>
          </p:nvSpPr>
          <p:spPr bwMode="auto">
            <a:xfrm>
              <a:off x="76672" y="32929"/>
              <a:ext cx="765" cy="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2000" b="0" i="0" u="none" strike="noStrike" cap="none" normalizeH="0" baseline="0">
                  <a:ln>
                    <a:noFill/>
                  </a:ln>
                  <a:solidFill>
                    <a:srgbClr val="00B050"/>
                  </a:solidFill>
                  <a:effectLst/>
                  <a:latin typeface="Arial" panose="020B0604020202020204" pitchFamily="34" charset="0"/>
                  <a:ea typeface="Calibri" panose="020F0502020204030204" pitchFamily="34" charset="0"/>
                  <a:cs typeface="Calibri" panose="020F0502020204030204" pitchFamily="34" charset="0"/>
                </a:rPr>
                <a:t> </a:t>
              </a:r>
              <a:endParaRPr kumimoji="0" lang="en-US" altLang="ru-RU" sz="1800" b="0" i="0" u="none" strike="noStrike" cap="none" normalizeH="0" baseline="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4014038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26</a:t>
            </a:fld>
            <a:endParaRPr lang="ru-RU" dirty="0"/>
          </a:p>
        </p:txBody>
      </p:sp>
      <p:sp>
        <p:nvSpPr>
          <p:cNvPr id="3" name="Заголовок 2"/>
          <p:cNvSpPr>
            <a:spLocks noGrp="1"/>
          </p:cNvSpPr>
          <p:nvPr>
            <p:ph type="title"/>
          </p:nvPr>
        </p:nvSpPr>
        <p:spPr>
          <a:xfrm>
            <a:off x="873123" y="-2875"/>
            <a:ext cx="10534651" cy="838199"/>
          </a:xfrm>
        </p:spPr>
        <p:txBody>
          <a:bodyPr>
            <a:normAutofit/>
          </a:bodyPr>
          <a:lstStyle/>
          <a:p>
            <a:pPr>
              <a:lnSpc>
                <a:spcPct val="107000"/>
              </a:lnSpc>
              <a:spcAft>
                <a:spcPts val="800"/>
              </a:spcAft>
            </a:pPr>
            <a:r>
              <a:rPr lang="ru-RU" dirty="0"/>
              <a:t>Сведения о геодезической основе</a:t>
            </a:r>
          </a:p>
        </p:txBody>
      </p:sp>
      <p:sp>
        <p:nvSpPr>
          <p:cNvPr id="6" name="Текст 5">
            <a:extLst>
              <a:ext uri="{FF2B5EF4-FFF2-40B4-BE49-F238E27FC236}">
                <a16:creationId xmlns:a16="http://schemas.microsoft.com/office/drawing/2014/main" xmlns="" id="{CB7572C7-6929-4283-9E3B-4C9F0CC64221}"/>
              </a:ext>
            </a:extLst>
          </p:cNvPr>
          <p:cNvSpPr>
            <a:spLocks noGrp="1"/>
          </p:cNvSpPr>
          <p:nvPr>
            <p:ph type="body" sz="quarter" idx="11"/>
          </p:nvPr>
        </p:nvSpPr>
        <p:spPr>
          <a:xfrm>
            <a:off x="704847" y="3991429"/>
            <a:ext cx="10899775" cy="2540000"/>
          </a:xfrm>
        </p:spPr>
        <p:txBody>
          <a:bodyPr>
            <a:normAutofit/>
          </a:bodyPr>
          <a:lstStyle/>
          <a:p>
            <a:pPr marL="342900" indent="-342900">
              <a:buFont typeface="Wingdings" panose="05000000000000000000" pitchFamily="2" charset="2"/>
              <a:buChar char="Ø"/>
            </a:pPr>
            <a:r>
              <a:rPr lang="ru-RU" sz="2000" dirty="0">
                <a:solidFill>
                  <a:srgbClr val="002060"/>
                </a:solidFill>
              </a:rPr>
              <a:t>Сведения указываются строго в соответствии с полученной выпиской из каталога координат пунктов ГГС.</a:t>
            </a:r>
          </a:p>
          <a:p>
            <a:pPr marL="342900" indent="-342900">
              <a:buFont typeface="Wingdings" panose="05000000000000000000" pitchFamily="2" charset="2"/>
              <a:buChar char="Ø"/>
            </a:pPr>
            <a:r>
              <a:rPr lang="ru-RU" sz="2000" dirty="0">
                <a:solidFill>
                  <a:srgbClr val="002060"/>
                </a:solidFill>
              </a:rPr>
              <a:t>Сведения о состоянии пунктов ГГС указываются на дату проведения работ по результатам их обследования. При этом необходимо иметь ввиду, если пункт полностью утрачен (отсутствуют наружный знак, центр, марка), то такой пункт невозможно использовать. Если утрачен только наружный знак, то такой пункт используется для определения координат, при этом в графе 7 Реквизита 1 указывается «Утрачен» либо «Не обнаружен».</a:t>
            </a:r>
          </a:p>
        </p:txBody>
      </p:sp>
      <p:pic>
        <p:nvPicPr>
          <p:cNvPr id="12" name="Рисунок 11">
            <a:extLst>
              <a:ext uri="{FF2B5EF4-FFF2-40B4-BE49-F238E27FC236}">
                <a16:creationId xmlns:a16="http://schemas.microsoft.com/office/drawing/2014/main" xmlns="" id="{9437E50D-3062-4AD7-B90D-729123C469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4847" y="704696"/>
            <a:ext cx="11008181" cy="3039990"/>
          </a:xfrm>
          <a:prstGeom prst="rect">
            <a:avLst/>
          </a:prstGeom>
        </p:spPr>
      </p:pic>
    </p:spTree>
    <p:extLst>
      <p:ext uri="{BB962C8B-B14F-4D97-AF65-F5344CB8AC3E}">
        <p14:creationId xmlns:p14="http://schemas.microsoft.com/office/powerpoint/2010/main" val="20553158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2546FE90-CDE0-4725-BC6A-9C2727976FAB}"/>
              </a:ext>
            </a:extLst>
          </p:cNvPr>
          <p:cNvSpPr>
            <a:spLocks noGrp="1"/>
          </p:cNvSpPr>
          <p:nvPr>
            <p:ph type="sldNum" sz="quarter" idx="10"/>
          </p:nvPr>
        </p:nvSpPr>
        <p:spPr/>
        <p:txBody>
          <a:bodyPr/>
          <a:lstStyle/>
          <a:p>
            <a:fld id="{35ACA335-37F7-42C7-872A-92C3D7072F89}" type="slidenum">
              <a:rPr lang="ru-RU" smtClean="0"/>
              <a:pPr/>
              <a:t>27</a:t>
            </a:fld>
            <a:endParaRPr lang="ru-RU" dirty="0"/>
          </a:p>
        </p:txBody>
      </p:sp>
      <p:sp>
        <p:nvSpPr>
          <p:cNvPr id="3" name="Заголовок 2">
            <a:extLst>
              <a:ext uri="{FF2B5EF4-FFF2-40B4-BE49-F238E27FC236}">
                <a16:creationId xmlns:a16="http://schemas.microsoft.com/office/drawing/2014/main" xmlns="" id="{9FF061E9-D77B-4907-8C81-A4F30DA5BC7B}"/>
              </a:ext>
            </a:extLst>
          </p:cNvPr>
          <p:cNvSpPr>
            <a:spLocks noGrp="1"/>
          </p:cNvSpPr>
          <p:nvPr>
            <p:ph type="title"/>
          </p:nvPr>
        </p:nvSpPr>
        <p:spPr>
          <a:xfrm>
            <a:off x="962025" y="4"/>
            <a:ext cx="10534651" cy="1436910"/>
          </a:xfrm>
        </p:spPr>
        <p:txBody>
          <a:bodyPr>
            <a:normAutofit fontScale="90000"/>
          </a:bodyPr>
          <a:lstStyle/>
          <a:p>
            <a:r>
              <a:rPr lang="ru-RU" sz="2400" dirty="0"/>
              <a:t>При выполнении кадастровых работ использовано недостаточное количество пунктов государственной геодезической сети или опорной межевой сети (должно быть не менее 3 пунктов геодезической сети, у которых состояние центра знака и марки в графах 7 и 8 «сохранился»)</a:t>
            </a:r>
            <a:endParaRPr lang="ru-RU" dirty="0"/>
          </a:p>
        </p:txBody>
      </p:sp>
      <p:grpSp>
        <p:nvGrpSpPr>
          <p:cNvPr id="5" name="Group 15520">
            <a:extLst>
              <a:ext uri="{FF2B5EF4-FFF2-40B4-BE49-F238E27FC236}">
                <a16:creationId xmlns:a16="http://schemas.microsoft.com/office/drawing/2014/main" xmlns="" id="{D021245F-A41B-4BF4-B543-CE70672CC9AE}"/>
              </a:ext>
            </a:extLst>
          </p:cNvPr>
          <p:cNvGrpSpPr>
            <a:grpSpLocks/>
          </p:cNvGrpSpPr>
          <p:nvPr/>
        </p:nvGrpSpPr>
        <p:grpSpPr bwMode="auto">
          <a:xfrm>
            <a:off x="1603376" y="1568856"/>
            <a:ext cx="8953118" cy="5089124"/>
            <a:chOff x="0" y="-30"/>
            <a:chExt cx="92319" cy="55031"/>
          </a:xfrm>
        </p:grpSpPr>
        <p:pic>
          <p:nvPicPr>
            <p:cNvPr id="6" name="Picture 16212">
              <a:extLst>
                <a:ext uri="{FF2B5EF4-FFF2-40B4-BE49-F238E27FC236}">
                  <a16:creationId xmlns:a16="http://schemas.microsoft.com/office/drawing/2014/main" xmlns="" id="{52F93AB5-D84C-4E1F-B914-33AD9F5373C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79" y="-30"/>
              <a:ext cx="55748" cy="20756"/>
            </a:xfrm>
            <a:prstGeom prst="rect">
              <a:avLst/>
            </a:prstGeom>
            <a:noFill/>
            <a:extLst>
              <a:ext uri="{909E8E84-426E-40DD-AFC4-6F175D3DCCD1}">
                <a14:hiddenFill xmlns:a14="http://schemas.microsoft.com/office/drawing/2010/main">
                  <a:solidFill>
                    <a:srgbClr val="FFFFFF"/>
                  </a:solidFill>
                </a14:hiddenFill>
              </a:ext>
            </a:extLst>
          </p:spPr>
        </p:pic>
        <p:sp>
          <p:nvSpPr>
            <p:cNvPr id="7" name="Shape 62">
              <a:extLst>
                <a:ext uri="{FF2B5EF4-FFF2-40B4-BE49-F238E27FC236}">
                  <a16:creationId xmlns:a16="http://schemas.microsoft.com/office/drawing/2014/main" xmlns="" id="{267615C9-73F7-4D75-A564-A9CD05233761}"/>
                </a:ext>
              </a:extLst>
            </p:cNvPr>
            <p:cNvSpPr>
              <a:spLocks/>
            </p:cNvSpPr>
            <p:nvPr/>
          </p:nvSpPr>
          <p:spPr bwMode="auto">
            <a:xfrm>
              <a:off x="9814" y="20528"/>
              <a:ext cx="46817" cy="183"/>
            </a:xfrm>
            <a:custGeom>
              <a:avLst/>
              <a:gdLst>
                <a:gd name="T0" fmla="*/ 330708 w 4681727"/>
                <a:gd name="T1" fmla="*/ 0 h 18288"/>
                <a:gd name="T2" fmla="*/ 377952 w 4681727"/>
                <a:gd name="T3" fmla="*/ 0 h 18288"/>
                <a:gd name="T4" fmla="*/ 391668 w 4681727"/>
                <a:gd name="T5" fmla="*/ 6096 h 18288"/>
                <a:gd name="T6" fmla="*/ 379476 w 4681727"/>
                <a:gd name="T7" fmla="*/ 0 h 18288"/>
                <a:gd name="T8" fmla="*/ 4351020 w 4681727"/>
                <a:gd name="T9" fmla="*/ 0 h 18288"/>
                <a:gd name="T10" fmla="*/ 4398264 w 4681727"/>
                <a:gd name="T11" fmla="*/ 1524 h 18288"/>
                <a:gd name="T12" fmla="*/ 4445508 w 4681727"/>
                <a:gd name="T13" fmla="*/ 3048 h 18288"/>
                <a:gd name="T14" fmla="*/ 4491228 w 4681727"/>
                <a:gd name="T15" fmla="*/ 4572 h 18288"/>
                <a:gd name="T16" fmla="*/ 4536948 w 4681727"/>
                <a:gd name="T17" fmla="*/ 6097 h 18288"/>
                <a:gd name="T18" fmla="*/ 4581144 w 4681727"/>
                <a:gd name="T19" fmla="*/ 9144 h 18288"/>
                <a:gd name="T20" fmla="*/ 4625340 w 4681727"/>
                <a:gd name="T21" fmla="*/ 13716 h 18288"/>
                <a:gd name="T22" fmla="*/ 4668012 w 4681727"/>
                <a:gd name="T23" fmla="*/ 16764 h 18288"/>
                <a:gd name="T24" fmla="*/ 4681727 w 4681727"/>
                <a:gd name="T25" fmla="*/ 18288 h 18288"/>
                <a:gd name="T26" fmla="*/ 0 w 4681727"/>
                <a:gd name="T27" fmla="*/ 18288 h 18288"/>
                <a:gd name="T28" fmla="*/ 13716 w 4681727"/>
                <a:gd name="T29" fmla="*/ 16764 h 18288"/>
                <a:gd name="T30" fmla="*/ 56388 w 4681727"/>
                <a:gd name="T31" fmla="*/ 13716 h 18288"/>
                <a:gd name="T32" fmla="*/ 100584 w 4681727"/>
                <a:gd name="T33" fmla="*/ 9144 h 18288"/>
                <a:gd name="T34" fmla="*/ 144780 w 4681727"/>
                <a:gd name="T35" fmla="*/ 6096 h 18288"/>
                <a:gd name="T36" fmla="*/ 190500 w 4681727"/>
                <a:gd name="T37" fmla="*/ 4572 h 18288"/>
                <a:gd name="T38" fmla="*/ 236220 w 4681727"/>
                <a:gd name="T39" fmla="*/ 3048 h 18288"/>
                <a:gd name="T40" fmla="*/ 283464 w 4681727"/>
                <a:gd name="T41" fmla="*/ 1524 h 18288"/>
                <a:gd name="T42" fmla="*/ 330708 w 4681727"/>
                <a:gd name="T43" fmla="*/ 0 h 18288"/>
                <a:gd name="T44" fmla="*/ 0 w 4681727"/>
                <a:gd name="T45" fmla="*/ 0 h 18288"/>
                <a:gd name="T46" fmla="*/ 4681727 w 4681727"/>
                <a:gd name="T47" fmla="*/ 18288 h 18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T44" t="T45" r="T46" b="T47"/>
              <a:pathLst>
                <a:path w="4681727" h="18288">
                  <a:moveTo>
                    <a:pt x="330708" y="0"/>
                  </a:moveTo>
                  <a:lnTo>
                    <a:pt x="377952" y="0"/>
                  </a:lnTo>
                  <a:cubicBezTo>
                    <a:pt x="384048" y="0"/>
                    <a:pt x="388620" y="1524"/>
                    <a:pt x="391668" y="6096"/>
                  </a:cubicBezTo>
                  <a:lnTo>
                    <a:pt x="379476" y="0"/>
                  </a:lnTo>
                  <a:lnTo>
                    <a:pt x="4351020" y="0"/>
                  </a:lnTo>
                  <a:lnTo>
                    <a:pt x="4398264" y="1524"/>
                  </a:lnTo>
                  <a:lnTo>
                    <a:pt x="4445508" y="3048"/>
                  </a:lnTo>
                  <a:lnTo>
                    <a:pt x="4491228" y="4572"/>
                  </a:lnTo>
                  <a:lnTo>
                    <a:pt x="4536948" y="6097"/>
                  </a:lnTo>
                  <a:lnTo>
                    <a:pt x="4581144" y="9144"/>
                  </a:lnTo>
                  <a:lnTo>
                    <a:pt x="4625340" y="13716"/>
                  </a:lnTo>
                  <a:lnTo>
                    <a:pt x="4668012" y="16764"/>
                  </a:lnTo>
                  <a:lnTo>
                    <a:pt x="4681727" y="18288"/>
                  </a:lnTo>
                  <a:lnTo>
                    <a:pt x="0" y="18288"/>
                  </a:lnTo>
                  <a:lnTo>
                    <a:pt x="13716" y="16764"/>
                  </a:lnTo>
                  <a:lnTo>
                    <a:pt x="56388" y="13716"/>
                  </a:lnTo>
                  <a:lnTo>
                    <a:pt x="100584" y="9144"/>
                  </a:lnTo>
                  <a:lnTo>
                    <a:pt x="144780" y="6096"/>
                  </a:lnTo>
                  <a:lnTo>
                    <a:pt x="190500" y="4572"/>
                  </a:lnTo>
                  <a:lnTo>
                    <a:pt x="236220" y="3048"/>
                  </a:lnTo>
                  <a:lnTo>
                    <a:pt x="283464" y="1524"/>
                  </a:lnTo>
                  <a:lnTo>
                    <a:pt x="330708" y="0"/>
                  </a:lnTo>
                  <a:close/>
                </a:path>
              </a:pathLst>
            </a:custGeom>
            <a:solidFill>
              <a:srgbClr val="C00000"/>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 name="Rectangle 68">
              <a:extLst>
                <a:ext uri="{FF2B5EF4-FFF2-40B4-BE49-F238E27FC236}">
                  <a16:creationId xmlns:a16="http://schemas.microsoft.com/office/drawing/2014/main" xmlns="" id="{96507B98-758A-4D8D-A805-4A87673C2E40}"/>
                </a:ext>
              </a:extLst>
            </p:cNvPr>
            <p:cNvSpPr>
              <a:spLocks noChangeArrowheads="1"/>
            </p:cNvSpPr>
            <p:nvPr/>
          </p:nvSpPr>
          <p:spPr bwMode="auto">
            <a:xfrm>
              <a:off x="62346" y="1697"/>
              <a:ext cx="29973" cy="20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algn="ctr" eaLnBrk="0" fontAlgn="base" hangingPunct="0">
                <a:spcBef>
                  <a:spcPct val="0"/>
                </a:spcBef>
                <a:spcAft>
                  <a:spcPct val="0"/>
                </a:spcAft>
              </a:pPr>
              <a:r>
                <a:rPr lang="en-US" altLang="ru-RU" dirty="0" err="1">
                  <a:solidFill>
                    <a:srgbClr val="000000"/>
                  </a:solidFill>
                  <a:latin typeface="Arial" panose="020B0604020202020204" pitchFamily="34" charset="0"/>
                  <a:ea typeface="Calibri" panose="020F0502020204030204" pitchFamily="34" charset="0"/>
                  <a:cs typeface="Calibri" panose="020F0502020204030204" pitchFamily="34" charset="0"/>
                </a:rPr>
                <a:t>Пункт</a:t>
              </a:r>
              <a:r>
                <a:rPr lang="en-US" altLang="ru-RU" dirty="0">
                  <a:solidFill>
                    <a:srgbClr val="000000"/>
                  </a:solidFill>
                  <a:latin typeface="Arial" panose="020B0604020202020204" pitchFamily="34" charset="0"/>
                  <a:ea typeface="Calibri" panose="020F0502020204030204" pitchFamily="34" charset="0"/>
                  <a:cs typeface="Calibri" panose="020F0502020204030204" pitchFamily="34" charset="0"/>
                </a:rPr>
                <a:t> ГГС «ЛЮМ» </a:t>
              </a:r>
              <a:endParaRPr lang="en-US" altLang="ru-RU" dirty="0">
                <a:latin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lang="ru-RU" altLang="ru-RU" dirty="0" smtClean="0">
                  <a:solidFill>
                    <a:srgbClr val="000000"/>
                  </a:solidFill>
                  <a:latin typeface="Arial" panose="020B0604020202020204" pitchFamily="34" charset="0"/>
                  <a:cs typeface="Calibri" panose="020F0502020204030204" pitchFamily="34" charset="0"/>
                </a:rPr>
                <a:t>марка сохранилась.</a:t>
              </a:r>
            </a:p>
            <a:p>
              <a:pPr marL="0" marR="0" lvl="0" indent="0" algn="ctr" defTabSz="914400" rtl="0" eaLnBrk="0" fontAlgn="base" latinLnBrk="0" hangingPunct="0">
                <a:lnSpc>
                  <a:spcPct val="100000"/>
                </a:lnSpc>
                <a:spcBef>
                  <a:spcPct val="0"/>
                </a:spcBef>
                <a:spcAft>
                  <a:spcPct val="0"/>
                </a:spcAft>
                <a:buClrTx/>
                <a:buSzTx/>
                <a:buFontTx/>
                <a:buNone/>
                <a:tabLst/>
              </a:pPr>
              <a:r>
                <a:rPr lang="ru-RU" altLang="ru-RU" dirty="0">
                  <a:solidFill>
                    <a:srgbClr val="000000"/>
                  </a:solidFill>
                  <a:latin typeface="Arial" panose="020B0604020202020204" pitchFamily="34" charset="0"/>
                  <a:cs typeface="Calibri" panose="020F0502020204030204" pitchFamily="34" charset="0"/>
                </a:rPr>
                <a:t>Можно использовать только при методе спутниковых геодезических измерений </a:t>
              </a:r>
              <a:endParaRPr lang="en-US" altLang="ru-RU" dirty="0">
                <a:solidFill>
                  <a:srgbClr val="000000"/>
                </a:solidFill>
                <a:latin typeface="Arial" panose="020B0604020202020204" pitchFamily="34" charset="0"/>
                <a:cs typeface="Calibri" panose="020F0502020204030204" pitchFamily="34" charset="0"/>
              </a:endParaRPr>
            </a:p>
          </p:txBody>
        </p:sp>
        <p:sp>
          <p:nvSpPr>
            <p:cNvPr id="13" name="Shape 69">
              <a:extLst>
                <a:ext uri="{FF2B5EF4-FFF2-40B4-BE49-F238E27FC236}">
                  <a16:creationId xmlns:a16="http://schemas.microsoft.com/office/drawing/2014/main" xmlns="" id="{D47FB41B-FCCC-4E0E-AAE5-CACE32D4CE84}"/>
                </a:ext>
              </a:extLst>
            </p:cNvPr>
            <p:cNvSpPr>
              <a:spLocks/>
            </p:cNvSpPr>
            <p:nvPr/>
          </p:nvSpPr>
          <p:spPr bwMode="auto">
            <a:xfrm>
              <a:off x="0" y="20711"/>
              <a:ext cx="91439" cy="34290"/>
            </a:xfrm>
            <a:custGeom>
              <a:avLst/>
              <a:gdLst>
                <a:gd name="T0" fmla="*/ 0 w 9143997"/>
                <a:gd name="T1" fmla="*/ 0 h 3429001"/>
                <a:gd name="T2" fmla="*/ 9143997 w 9143997"/>
                <a:gd name="T3" fmla="*/ 0 h 3429001"/>
                <a:gd name="T4" fmla="*/ 9143997 w 9143997"/>
                <a:gd name="T5" fmla="*/ 3429001 h 3429001"/>
                <a:gd name="T6" fmla="*/ 186612 w 9143997"/>
                <a:gd name="T7" fmla="*/ 3429000 h 3429001"/>
                <a:gd name="T8" fmla="*/ 0 w 9143997"/>
                <a:gd name="T9" fmla="*/ 3429000 h 3429001"/>
                <a:gd name="T10" fmla="*/ 0 w 9143997"/>
                <a:gd name="T11" fmla="*/ 0 h 3429001"/>
                <a:gd name="T12" fmla="*/ 0 w 9143997"/>
                <a:gd name="T13" fmla="*/ 0 h 3429001"/>
                <a:gd name="T14" fmla="*/ 9143997 w 9143997"/>
                <a:gd name="T15" fmla="*/ 3429001 h 3429001"/>
              </a:gdLst>
              <a:ahLst/>
              <a:cxnLst>
                <a:cxn ang="0">
                  <a:pos x="T0" y="T1"/>
                </a:cxn>
                <a:cxn ang="0">
                  <a:pos x="T2" y="T3"/>
                </a:cxn>
                <a:cxn ang="0">
                  <a:pos x="T4" y="T5"/>
                </a:cxn>
                <a:cxn ang="0">
                  <a:pos x="T6" y="T7"/>
                </a:cxn>
                <a:cxn ang="0">
                  <a:pos x="T8" y="T9"/>
                </a:cxn>
                <a:cxn ang="0">
                  <a:pos x="T10" y="T11"/>
                </a:cxn>
              </a:cxnLst>
              <a:rect l="T12" t="T13" r="T14" b="T15"/>
              <a:pathLst>
                <a:path w="9143997" h="3429001">
                  <a:moveTo>
                    <a:pt x="0" y="0"/>
                  </a:moveTo>
                  <a:lnTo>
                    <a:pt x="9143997" y="0"/>
                  </a:lnTo>
                  <a:lnTo>
                    <a:pt x="9143997" y="3429001"/>
                  </a:lnTo>
                  <a:lnTo>
                    <a:pt x="186612" y="3429000"/>
                  </a:lnTo>
                  <a:lnTo>
                    <a:pt x="0" y="3429000"/>
                  </a:lnTo>
                  <a:lnTo>
                    <a:pt x="0" y="0"/>
                  </a:lnTo>
                  <a:close/>
                </a:path>
              </a:pathLst>
            </a:custGeom>
            <a:solidFill>
              <a:srgbClr val="FFFFFF"/>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pic>
          <p:nvPicPr>
            <p:cNvPr id="14" name="Picture 16213">
              <a:extLst>
                <a:ext uri="{FF2B5EF4-FFF2-40B4-BE49-F238E27FC236}">
                  <a16:creationId xmlns:a16="http://schemas.microsoft.com/office/drawing/2014/main" xmlns="" id="{67C5CAF2-3C2F-4CDE-A9AC-0D6B022068E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79" y="20675"/>
              <a:ext cx="55748" cy="429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4">
              <a:extLst>
                <a:ext uri="{FF2B5EF4-FFF2-40B4-BE49-F238E27FC236}">
                  <a16:creationId xmlns:a16="http://schemas.microsoft.com/office/drawing/2014/main" xmlns="" id="{8068758D-65B3-46AA-902E-2B46870539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289" y="25008"/>
              <a:ext cx="53920" cy="25146"/>
            </a:xfrm>
            <a:prstGeom prst="rect">
              <a:avLst/>
            </a:prstGeom>
            <a:noFill/>
            <a:extLst>
              <a:ext uri="{909E8E84-426E-40DD-AFC4-6F175D3DCCD1}">
                <a14:hiddenFill xmlns:a14="http://schemas.microsoft.com/office/drawing/2010/main">
                  <a:solidFill>
                    <a:srgbClr val="FFFFFF"/>
                  </a:solidFill>
                </a14:hiddenFill>
              </a:ext>
            </a:extLst>
          </p:spPr>
        </p:pic>
        <p:sp>
          <p:nvSpPr>
            <p:cNvPr id="16" name="Shape 75">
              <a:extLst>
                <a:ext uri="{FF2B5EF4-FFF2-40B4-BE49-F238E27FC236}">
                  <a16:creationId xmlns:a16="http://schemas.microsoft.com/office/drawing/2014/main" xmlns="" id="{85BFEC4E-9064-4C5C-9B11-5BD1BA445390}"/>
                </a:ext>
              </a:extLst>
            </p:cNvPr>
            <p:cNvSpPr>
              <a:spLocks/>
            </p:cNvSpPr>
            <p:nvPr/>
          </p:nvSpPr>
          <p:spPr bwMode="auto">
            <a:xfrm>
              <a:off x="4099" y="20711"/>
              <a:ext cx="29124" cy="4480"/>
            </a:xfrm>
            <a:custGeom>
              <a:avLst/>
              <a:gdLst>
                <a:gd name="T0" fmla="*/ 571497 w 2912362"/>
                <a:gd name="T1" fmla="*/ 0 h 448056"/>
                <a:gd name="T2" fmla="*/ 2912362 w 2912362"/>
                <a:gd name="T3" fmla="*/ 0 h 448056"/>
                <a:gd name="T4" fmla="*/ 2912362 w 2912362"/>
                <a:gd name="T5" fmla="*/ 19812 h 448056"/>
                <a:gd name="T6" fmla="*/ 950973 w 2912362"/>
                <a:gd name="T7" fmla="*/ 19812 h 448056"/>
                <a:gd name="T8" fmla="*/ 902205 w 2912362"/>
                <a:gd name="T9" fmla="*/ 19812 h 448056"/>
                <a:gd name="T10" fmla="*/ 854961 w 2912362"/>
                <a:gd name="T11" fmla="*/ 21336 h 448056"/>
                <a:gd name="T12" fmla="*/ 809241 w 2912362"/>
                <a:gd name="T13" fmla="*/ 22860 h 448056"/>
                <a:gd name="T14" fmla="*/ 763521 w 2912362"/>
                <a:gd name="T15" fmla="*/ 24384 h 448056"/>
                <a:gd name="T16" fmla="*/ 719325 w 2912362"/>
                <a:gd name="T17" fmla="*/ 25908 h 448056"/>
                <a:gd name="T18" fmla="*/ 675129 w 2912362"/>
                <a:gd name="T19" fmla="*/ 28956 h 448056"/>
                <a:gd name="T20" fmla="*/ 632457 w 2912362"/>
                <a:gd name="T21" fmla="*/ 32004 h 448056"/>
                <a:gd name="T22" fmla="*/ 589785 w 2912362"/>
                <a:gd name="T23" fmla="*/ 36576 h 448056"/>
                <a:gd name="T24" fmla="*/ 548637 w 2912362"/>
                <a:gd name="T25" fmla="*/ 41148 h 448056"/>
                <a:gd name="T26" fmla="*/ 509013 w 2912362"/>
                <a:gd name="T27" fmla="*/ 45720 h 448056"/>
                <a:gd name="T28" fmla="*/ 470913 w 2912362"/>
                <a:gd name="T29" fmla="*/ 50292 h 448056"/>
                <a:gd name="T30" fmla="*/ 432813 w 2912362"/>
                <a:gd name="T31" fmla="*/ 56388 h 448056"/>
                <a:gd name="T32" fmla="*/ 396237 w 2912362"/>
                <a:gd name="T33" fmla="*/ 62484 h 448056"/>
                <a:gd name="T34" fmla="*/ 361185 w 2912362"/>
                <a:gd name="T35" fmla="*/ 68580 h 448056"/>
                <a:gd name="T36" fmla="*/ 329184 w 2912362"/>
                <a:gd name="T37" fmla="*/ 74676 h 448056"/>
                <a:gd name="T38" fmla="*/ 297180 w 2912362"/>
                <a:gd name="T39" fmla="*/ 82296 h 448056"/>
                <a:gd name="T40" fmla="*/ 266700 w 2912362"/>
                <a:gd name="T41" fmla="*/ 89916 h 448056"/>
                <a:gd name="T42" fmla="*/ 237744 w 2912362"/>
                <a:gd name="T43" fmla="*/ 97536 h 448056"/>
                <a:gd name="T44" fmla="*/ 210312 w 2912362"/>
                <a:gd name="T45" fmla="*/ 105156 h 448056"/>
                <a:gd name="T46" fmla="*/ 184404 w 2912362"/>
                <a:gd name="T47" fmla="*/ 112776 h 448056"/>
                <a:gd name="T48" fmla="*/ 161544 w 2912362"/>
                <a:gd name="T49" fmla="*/ 121920 h 448056"/>
                <a:gd name="T50" fmla="*/ 140208 w 2912362"/>
                <a:gd name="T51" fmla="*/ 129540 h 448056"/>
                <a:gd name="T52" fmla="*/ 120396 w 2912362"/>
                <a:gd name="T53" fmla="*/ 138684 h 448056"/>
                <a:gd name="T54" fmla="*/ 102108 w 2912362"/>
                <a:gd name="T55" fmla="*/ 147828 h 448056"/>
                <a:gd name="T56" fmla="*/ 86868 w 2912362"/>
                <a:gd name="T57" fmla="*/ 156972 h 448056"/>
                <a:gd name="T58" fmla="*/ 73152 w 2912362"/>
                <a:gd name="T59" fmla="*/ 166116 h 448056"/>
                <a:gd name="T60" fmla="*/ 62484 w 2912362"/>
                <a:gd name="T61" fmla="*/ 175260 h 448056"/>
                <a:gd name="T62" fmla="*/ 53340 w 2912362"/>
                <a:gd name="T63" fmla="*/ 182880 h 448056"/>
                <a:gd name="T64" fmla="*/ 47244 w 2912362"/>
                <a:gd name="T65" fmla="*/ 192024 h 448056"/>
                <a:gd name="T66" fmla="*/ 44196 w 2912362"/>
                <a:gd name="T67" fmla="*/ 196596 h 448056"/>
                <a:gd name="T68" fmla="*/ 42672 w 2912362"/>
                <a:gd name="T69" fmla="*/ 199644 h 448056"/>
                <a:gd name="T70" fmla="*/ 41148 w 2912362"/>
                <a:gd name="T71" fmla="*/ 204216 h 448056"/>
                <a:gd name="T72" fmla="*/ 39624 w 2912362"/>
                <a:gd name="T73" fmla="*/ 207264 h 448056"/>
                <a:gd name="T74" fmla="*/ 38100 w 2912362"/>
                <a:gd name="T75" fmla="*/ 210312 h 448056"/>
                <a:gd name="T76" fmla="*/ 38100 w 2912362"/>
                <a:gd name="T77" fmla="*/ 217932 h 448056"/>
                <a:gd name="T78" fmla="*/ 39624 w 2912362"/>
                <a:gd name="T79" fmla="*/ 220980 h 448056"/>
                <a:gd name="T80" fmla="*/ 39624 w 2912362"/>
                <a:gd name="T81" fmla="*/ 225552 h 448056"/>
                <a:gd name="T82" fmla="*/ 41148 w 2912362"/>
                <a:gd name="T83" fmla="*/ 228600 h 448056"/>
                <a:gd name="T84" fmla="*/ 42672 w 2912362"/>
                <a:gd name="T85" fmla="*/ 233172 h 448056"/>
                <a:gd name="T86" fmla="*/ 45720 w 2912362"/>
                <a:gd name="T87" fmla="*/ 236220 h 448056"/>
                <a:gd name="T88" fmla="*/ 51816 w 2912362"/>
                <a:gd name="T89" fmla="*/ 245364 h 448056"/>
                <a:gd name="T90" fmla="*/ 60960 w 2912362"/>
                <a:gd name="T91" fmla="*/ 254508 h 448056"/>
                <a:gd name="T92" fmla="*/ 71628 w 2912362"/>
                <a:gd name="T93" fmla="*/ 263652 h 448056"/>
                <a:gd name="T94" fmla="*/ 85344 w 2912362"/>
                <a:gd name="T95" fmla="*/ 272796 h 448056"/>
                <a:gd name="T96" fmla="*/ 100584 w 2912362"/>
                <a:gd name="T97" fmla="*/ 281940 h 448056"/>
                <a:gd name="T98" fmla="*/ 118872 w 2912362"/>
                <a:gd name="T99" fmla="*/ 291084 h 448056"/>
                <a:gd name="T100" fmla="*/ 138684 w 2912362"/>
                <a:gd name="T101" fmla="*/ 300228 h 448056"/>
                <a:gd name="T102" fmla="*/ 160020 w 2912362"/>
                <a:gd name="T103" fmla="*/ 307848 h 448056"/>
                <a:gd name="T104" fmla="*/ 184404 w 2912362"/>
                <a:gd name="T105" fmla="*/ 316992 h 448056"/>
                <a:gd name="T106" fmla="*/ 210312 w 2912362"/>
                <a:gd name="T107" fmla="*/ 324612 h 448056"/>
                <a:gd name="T108" fmla="*/ 236220 w 2912362"/>
                <a:gd name="T109" fmla="*/ 332232 h 448056"/>
                <a:gd name="T110" fmla="*/ 265176 w 2912362"/>
                <a:gd name="T111" fmla="*/ 341376 h 448056"/>
                <a:gd name="T112" fmla="*/ 295656 w 2912362"/>
                <a:gd name="T113" fmla="*/ 347472 h 448056"/>
                <a:gd name="T114" fmla="*/ 327660 w 2912362"/>
                <a:gd name="T115" fmla="*/ 355092 h 448056"/>
                <a:gd name="T116" fmla="*/ 361185 w 2912362"/>
                <a:gd name="T117" fmla="*/ 361188 h 448056"/>
                <a:gd name="T118" fmla="*/ 396237 w 2912362"/>
                <a:gd name="T119" fmla="*/ 367284 h 448056"/>
                <a:gd name="T120" fmla="*/ 432813 w 2912362"/>
                <a:gd name="T121" fmla="*/ 373380 h 448056"/>
                <a:gd name="T122" fmla="*/ 469389 w 2912362"/>
                <a:gd name="T123" fmla="*/ 379476 h 448056"/>
                <a:gd name="T124" fmla="*/ 509013 w 2912362"/>
                <a:gd name="T125" fmla="*/ 384048 h 448056"/>
                <a:gd name="T126" fmla="*/ 548637 w 2912362"/>
                <a:gd name="T127" fmla="*/ 388620 h 448056"/>
                <a:gd name="T128" fmla="*/ 0 w 2912362"/>
                <a:gd name="T129" fmla="*/ 0 h 448056"/>
                <a:gd name="T130" fmla="*/ 2912362 w 2912362"/>
                <a:gd name="T131" fmla="*/ 448056 h 448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 ang="0">
                  <a:pos x="T126" y="T127"/>
                </a:cxn>
              </a:cxnLst>
              <a:rect l="T128" t="T129" r="T130" b="T131"/>
              <a:pathLst>
                <a:path w="2912362" h="448056">
                  <a:moveTo>
                    <a:pt x="571497" y="0"/>
                  </a:moveTo>
                  <a:lnTo>
                    <a:pt x="2912362" y="0"/>
                  </a:lnTo>
                  <a:lnTo>
                    <a:pt x="2912362" y="19812"/>
                  </a:lnTo>
                  <a:lnTo>
                    <a:pt x="950973" y="19812"/>
                  </a:lnTo>
                  <a:lnTo>
                    <a:pt x="902205" y="19812"/>
                  </a:lnTo>
                  <a:lnTo>
                    <a:pt x="854961" y="21336"/>
                  </a:lnTo>
                  <a:lnTo>
                    <a:pt x="809241" y="22860"/>
                  </a:lnTo>
                  <a:lnTo>
                    <a:pt x="763521" y="24384"/>
                  </a:lnTo>
                  <a:lnTo>
                    <a:pt x="719325" y="25908"/>
                  </a:lnTo>
                  <a:lnTo>
                    <a:pt x="675129" y="28956"/>
                  </a:lnTo>
                  <a:lnTo>
                    <a:pt x="632457" y="32004"/>
                  </a:lnTo>
                  <a:lnTo>
                    <a:pt x="589785" y="36576"/>
                  </a:lnTo>
                  <a:lnTo>
                    <a:pt x="548637" y="41148"/>
                  </a:lnTo>
                  <a:lnTo>
                    <a:pt x="509013" y="45720"/>
                  </a:lnTo>
                  <a:lnTo>
                    <a:pt x="470913" y="50292"/>
                  </a:lnTo>
                  <a:lnTo>
                    <a:pt x="432813" y="56388"/>
                  </a:lnTo>
                  <a:lnTo>
                    <a:pt x="396237" y="62484"/>
                  </a:lnTo>
                  <a:lnTo>
                    <a:pt x="361185" y="68580"/>
                  </a:lnTo>
                  <a:lnTo>
                    <a:pt x="329184" y="74676"/>
                  </a:lnTo>
                  <a:lnTo>
                    <a:pt x="297180" y="82296"/>
                  </a:lnTo>
                  <a:lnTo>
                    <a:pt x="266700" y="89916"/>
                  </a:lnTo>
                  <a:lnTo>
                    <a:pt x="237744" y="97536"/>
                  </a:lnTo>
                  <a:lnTo>
                    <a:pt x="210312" y="105156"/>
                  </a:lnTo>
                  <a:lnTo>
                    <a:pt x="184404" y="112776"/>
                  </a:lnTo>
                  <a:lnTo>
                    <a:pt x="161544" y="121920"/>
                  </a:lnTo>
                  <a:lnTo>
                    <a:pt x="140208" y="129540"/>
                  </a:lnTo>
                  <a:lnTo>
                    <a:pt x="120396" y="138684"/>
                  </a:lnTo>
                  <a:lnTo>
                    <a:pt x="102108" y="147828"/>
                  </a:lnTo>
                  <a:lnTo>
                    <a:pt x="86868" y="156972"/>
                  </a:lnTo>
                  <a:lnTo>
                    <a:pt x="73152" y="166116"/>
                  </a:lnTo>
                  <a:lnTo>
                    <a:pt x="62484" y="175260"/>
                  </a:lnTo>
                  <a:lnTo>
                    <a:pt x="53340" y="182880"/>
                  </a:lnTo>
                  <a:lnTo>
                    <a:pt x="47244" y="192024"/>
                  </a:lnTo>
                  <a:lnTo>
                    <a:pt x="44196" y="196596"/>
                  </a:lnTo>
                  <a:lnTo>
                    <a:pt x="42672" y="199644"/>
                  </a:lnTo>
                  <a:lnTo>
                    <a:pt x="41148" y="204216"/>
                  </a:lnTo>
                  <a:lnTo>
                    <a:pt x="39624" y="207264"/>
                  </a:lnTo>
                  <a:lnTo>
                    <a:pt x="38100" y="210312"/>
                  </a:lnTo>
                  <a:lnTo>
                    <a:pt x="38100" y="217932"/>
                  </a:lnTo>
                  <a:lnTo>
                    <a:pt x="39624" y="220980"/>
                  </a:lnTo>
                  <a:lnTo>
                    <a:pt x="39624" y="225552"/>
                  </a:lnTo>
                  <a:lnTo>
                    <a:pt x="41148" y="228600"/>
                  </a:lnTo>
                  <a:lnTo>
                    <a:pt x="42672" y="233172"/>
                  </a:lnTo>
                  <a:lnTo>
                    <a:pt x="45720" y="236220"/>
                  </a:lnTo>
                  <a:lnTo>
                    <a:pt x="51816" y="245364"/>
                  </a:lnTo>
                  <a:lnTo>
                    <a:pt x="60960" y="254508"/>
                  </a:lnTo>
                  <a:lnTo>
                    <a:pt x="71628" y="263652"/>
                  </a:lnTo>
                  <a:lnTo>
                    <a:pt x="85344" y="272796"/>
                  </a:lnTo>
                  <a:lnTo>
                    <a:pt x="100584" y="281940"/>
                  </a:lnTo>
                  <a:lnTo>
                    <a:pt x="118872" y="291084"/>
                  </a:lnTo>
                  <a:lnTo>
                    <a:pt x="138684" y="300228"/>
                  </a:lnTo>
                  <a:lnTo>
                    <a:pt x="160020" y="307848"/>
                  </a:lnTo>
                  <a:lnTo>
                    <a:pt x="184404" y="316992"/>
                  </a:lnTo>
                  <a:lnTo>
                    <a:pt x="210312" y="324612"/>
                  </a:lnTo>
                  <a:lnTo>
                    <a:pt x="236220" y="332232"/>
                  </a:lnTo>
                  <a:lnTo>
                    <a:pt x="265176" y="341376"/>
                  </a:lnTo>
                  <a:lnTo>
                    <a:pt x="295656" y="347472"/>
                  </a:lnTo>
                  <a:lnTo>
                    <a:pt x="327660" y="355092"/>
                  </a:lnTo>
                  <a:lnTo>
                    <a:pt x="361185" y="361188"/>
                  </a:lnTo>
                  <a:lnTo>
                    <a:pt x="396237" y="367284"/>
                  </a:lnTo>
                  <a:lnTo>
                    <a:pt x="432813" y="373380"/>
                  </a:lnTo>
                  <a:lnTo>
                    <a:pt x="469389" y="379476"/>
                  </a:lnTo>
                  <a:lnTo>
                    <a:pt x="509013" y="384048"/>
                  </a:lnTo>
                  <a:lnTo>
                    <a:pt x="548637" y="388620"/>
                  </a:lnTo>
                  <a:lnTo>
                    <a:pt x="589785" y="393192"/>
                  </a:lnTo>
                  <a:lnTo>
                    <a:pt x="630933" y="397764"/>
                  </a:lnTo>
                  <a:lnTo>
                    <a:pt x="675129" y="400812"/>
                  </a:lnTo>
                  <a:lnTo>
                    <a:pt x="719325" y="403860"/>
                  </a:lnTo>
                  <a:lnTo>
                    <a:pt x="763521" y="405384"/>
                  </a:lnTo>
                  <a:lnTo>
                    <a:pt x="809241" y="408432"/>
                  </a:lnTo>
                  <a:lnTo>
                    <a:pt x="854961" y="409956"/>
                  </a:lnTo>
                  <a:lnTo>
                    <a:pt x="2912362" y="409956"/>
                  </a:lnTo>
                  <a:lnTo>
                    <a:pt x="2912362" y="448056"/>
                  </a:lnTo>
                  <a:lnTo>
                    <a:pt x="854961" y="448056"/>
                  </a:lnTo>
                  <a:lnTo>
                    <a:pt x="807717" y="446532"/>
                  </a:lnTo>
                  <a:lnTo>
                    <a:pt x="761997" y="443484"/>
                  </a:lnTo>
                  <a:lnTo>
                    <a:pt x="716277" y="441960"/>
                  </a:lnTo>
                  <a:lnTo>
                    <a:pt x="672081" y="438912"/>
                  </a:lnTo>
                  <a:lnTo>
                    <a:pt x="629409" y="435864"/>
                  </a:lnTo>
                  <a:lnTo>
                    <a:pt x="586737" y="431292"/>
                  </a:lnTo>
                  <a:lnTo>
                    <a:pt x="544065" y="426720"/>
                  </a:lnTo>
                  <a:lnTo>
                    <a:pt x="504441" y="422148"/>
                  </a:lnTo>
                  <a:lnTo>
                    <a:pt x="464817" y="417576"/>
                  </a:lnTo>
                  <a:lnTo>
                    <a:pt x="426717" y="411480"/>
                  </a:lnTo>
                  <a:lnTo>
                    <a:pt x="390141" y="405384"/>
                  </a:lnTo>
                  <a:lnTo>
                    <a:pt x="355089" y="399288"/>
                  </a:lnTo>
                  <a:lnTo>
                    <a:pt x="320040" y="391668"/>
                  </a:lnTo>
                  <a:lnTo>
                    <a:pt x="288036" y="385572"/>
                  </a:lnTo>
                  <a:lnTo>
                    <a:pt x="256032" y="377952"/>
                  </a:lnTo>
                  <a:lnTo>
                    <a:pt x="227076" y="370332"/>
                  </a:lnTo>
                  <a:lnTo>
                    <a:pt x="199644" y="361188"/>
                  </a:lnTo>
                  <a:lnTo>
                    <a:pt x="172212" y="353568"/>
                  </a:lnTo>
                  <a:lnTo>
                    <a:pt x="147828" y="344424"/>
                  </a:lnTo>
                  <a:lnTo>
                    <a:pt x="124968" y="335280"/>
                  </a:lnTo>
                  <a:lnTo>
                    <a:pt x="103632" y="324612"/>
                  </a:lnTo>
                  <a:lnTo>
                    <a:pt x="83820" y="315468"/>
                  </a:lnTo>
                  <a:lnTo>
                    <a:pt x="65532" y="304800"/>
                  </a:lnTo>
                  <a:lnTo>
                    <a:pt x="50292" y="294132"/>
                  </a:lnTo>
                  <a:lnTo>
                    <a:pt x="36576" y="283464"/>
                  </a:lnTo>
                  <a:lnTo>
                    <a:pt x="24384" y="271272"/>
                  </a:lnTo>
                  <a:lnTo>
                    <a:pt x="15240" y="259080"/>
                  </a:lnTo>
                  <a:lnTo>
                    <a:pt x="10668" y="252984"/>
                  </a:lnTo>
                  <a:lnTo>
                    <a:pt x="7620" y="245364"/>
                  </a:lnTo>
                  <a:lnTo>
                    <a:pt x="4572" y="237744"/>
                  </a:lnTo>
                  <a:lnTo>
                    <a:pt x="1524" y="231648"/>
                  </a:lnTo>
                  <a:lnTo>
                    <a:pt x="1524" y="224028"/>
                  </a:lnTo>
                  <a:lnTo>
                    <a:pt x="0" y="216408"/>
                  </a:lnTo>
                  <a:lnTo>
                    <a:pt x="0" y="208788"/>
                  </a:lnTo>
                  <a:lnTo>
                    <a:pt x="1524" y="201168"/>
                  </a:lnTo>
                  <a:lnTo>
                    <a:pt x="3048" y="193548"/>
                  </a:lnTo>
                  <a:lnTo>
                    <a:pt x="6096" y="185928"/>
                  </a:lnTo>
                  <a:lnTo>
                    <a:pt x="10668" y="178308"/>
                  </a:lnTo>
                  <a:lnTo>
                    <a:pt x="13716" y="172212"/>
                  </a:lnTo>
                  <a:lnTo>
                    <a:pt x="22860" y="160020"/>
                  </a:lnTo>
                  <a:lnTo>
                    <a:pt x="35052" y="147828"/>
                  </a:lnTo>
                  <a:lnTo>
                    <a:pt x="48768" y="137160"/>
                  </a:lnTo>
                  <a:lnTo>
                    <a:pt x="65532" y="124968"/>
                  </a:lnTo>
                  <a:lnTo>
                    <a:pt x="82296" y="115824"/>
                  </a:lnTo>
                  <a:lnTo>
                    <a:pt x="102108" y="105156"/>
                  </a:lnTo>
                  <a:lnTo>
                    <a:pt x="123444" y="96012"/>
                  </a:lnTo>
                  <a:lnTo>
                    <a:pt x="147828" y="86868"/>
                  </a:lnTo>
                  <a:lnTo>
                    <a:pt x="172212" y="77724"/>
                  </a:lnTo>
                  <a:lnTo>
                    <a:pt x="198120" y="68580"/>
                  </a:lnTo>
                  <a:lnTo>
                    <a:pt x="227076" y="60960"/>
                  </a:lnTo>
                  <a:lnTo>
                    <a:pt x="256032" y="51816"/>
                  </a:lnTo>
                  <a:lnTo>
                    <a:pt x="288036" y="45720"/>
                  </a:lnTo>
                  <a:lnTo>
                    <a:pt x="320040" y="38100"/>
                  </a:lnTo>
                  <a:lnTo>
                    <a:pt x="355089" y="30480"/>
                  </a:lnTo>
                  <a:lnTo>
                    <a:pt x="390141" y="24384"/>
                  </a:lnTo>
                  <a:lnTo>
                    <a:pt x="426717" y="18288"/>
                  </a:lnTo>
                  <a:lnTo>
                    <a:pt x="464817" y="12192"/>
                  </a:lnTo>
                  <a:lnTo>
                    <a:pt x="504441" y="7620"/>
                  </a:lnTo>
                  <a:lnTo>
                    <a:pt x="544065" y="3048"/>
                  </a:lnTo>
                  <a:lnTo>
                    <a:pt x="571497" y="0"/>
                  </a:lnTo>
                  <a:close/>
                </a:path>
              </a:pathLst>
            </a:custGeom>
            <a:solidFill>
              <a:srgbClr val="C00000"/>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7" name="Shape 76">
              <a:extLst>
                <a:ext uri="{FF2B5EF4-FFF2-40B4-BE49-F238E27FC236}">
                  <a16:creationId xmlns:a16="http://schemas.microsoft.com/office/drawing/2014/main" xmlns="" id="{62CDD6BF-FFB1-4633-A6D5-712802C972AF}"/>
                </a:ext>
              </a:extLst>
            </p:cNvPr>
            <p:cNvSpPr>
              <a:spLocks/>
            </p:cNvSpPr>
            <p:nvPr/>
          </p:nvSpPr>
          <p:spPr bwMode="auto">
            <a:xfrm>
              <a:off x="33223" y="20711"/>
              <a:ext cx="29123" cy="4480"/>
            </a:xfrm>
            <a:custGeom>
              <a:avLst/>
              <a:gdLst>
                <a:gd name="T0" fmla="*/ 0 w 2912363"/>
                <a:gd name="T1" fmla="*/ 0 h 448056"/>
                <a:gd name="T2" fmla="*/ 2340861 w 2912363"/>
                <a:gd name="T3" fmla="*/ 0 h 448056"/>
                <a:gd name="T4" fmla="*/ 2368294 w 2912363"/>
                <a:gd name="T5" fmla="*/ 3048 h 448056"/>
                <a:gd name="T6" fmla="*/ 2407918 w 2912363"/>
                <a:gd name="T7" fmla="*/ 7620 h 448056"/>
                <a:gd name="T8" fmla="*/ 2447542 w 2912363"/>
                <a:gd name="T9" fmla="*/ 12192 h 448056"/>
                <a:gd name="T10" fmla="*/ 2485642 w 2912363"/>
                <a:gd name="T11" fmla="*/ 18288 h 448056"/>
                <a:gd name="T12" fmla="*/ 2522218 w 2912363"/>
                <a:gd name="T13" fmla="*/ 24384 h 448056"/>
                <a:gd name="T14" fmla="*/ 2558794 w 2912363"/>
                <a:gd name="T15" fmla="*/ 30480 h 448056"/>
                <a:gd name="T16" fmla="*/ 2592323 w 2912363"/>
                <a:gd name="T17" fmla="*/ 38100 h 448056"/>
                <a:gd name="T18" fmla="*/ 2624327 w 2912363"/>
                <a:gd name="T19" fmla="*/ 44196 h 448056"/>
                <a:gd name="T20" fmla="*/ 2656330 w 2912363"/>
                <a:gd name="T21" fmla="*/ 51816 h 448056"/>
                <a:gd name="T22" fmla="*/ 2685287 w 2912363"/>
                <a:gd name="T23" fmla="*/ 60960 h 448056"/>
                <a:gd name="T24" fmla="*/ 2714242 w 2912363"/>
                <a:gd name="T25" fmla="*/ 68580 h 448056"/>
                <a:gd name="T26" fmla="*/ 2740151 w 2912363"/>
                <a:gd name="T27" fmla="*/ 77724 h 448056"/>
                <a:gd name="T28" fmla="*/ 2764534 w 2912363"/>
                <a:gd name="T29" fmla="*/ 85344 h 448056"/>
                <a:gd name="T30" fmla="*/ 2788918 w 2912363"/>
                <a:gd name="T31" fmla="*/ 94488 h 448056"/>
                <a:gd name="T32" fmla="*/ 2810254 w 2912363"/>
                <a:gd name="T33" fmla="*/ 105156 h 448056"/>
                <a:gd name="T34" fmla="*/ 2828542 w 2912363"/>
                <a:gd name="T35" fmla="*/ 114300 h 448056"/>
                <a:gd name="T36" fmla="*/ 2846830 w 2912363"/>
                <a:gd name="T37" fmla="*/ 124968 h 448056"/>
                <a:gd name="T38" fmla="*/ 2862070 w 2912363"/>
                <a:gd name="T39" fmla="*/ 135636 h 448056"/>
                <a:gd name="T40" fmla="*/ 2875787 w 2912363"/>
                <a:gd name="T41" fmla="*/ 146304 h 448056"/>
                <a:gd name="T42" fmla="*/ 2887978 w 2912363"/>
                <a:gd name="T43" fmla="*/ 158496 h 448056"/>
                <a:gd name="T44" fmla="*/ 2897123 w 2912363"/>
                <a:gd name="T45" fmla="*/ 170688 h 448056"/>
                <a:gd name="T46" fmla="*/ 2901694 w 2912363"/>
                <a:gd name="T47" fmla="*/ 178308 h 448056"/>
                <a:gd name="T48" fmla="*/ 2906266 w 2912363"/>
                <a:gd name="T49" fmla="*/ 184404 h 448056"/>
                <a:gd name="T50" fmla="*/ 2909315 w 2912363"/>
                <a:gd name="T51" fmla="*/ 192024 h 448056"/>
                <a:gd name="T52" fmla="*/ 2910839 w 2912363"/>
                <a:gd name="T53" fmla="*/ 198120 h 448056"/>
                <a:gd name="T54" fmla="*/ 2912363 w 2912363"/>
                <a:gd name="T55" fmla="*/ 205740 h 448056"/>
                <a:gd name="T56" fmla="*/ 2912363 w 2912363"/>
                <a:gd name="T57" fmla="*/ 220980 h 448056"/>
                <a:gd name="T58" fmla="*/ 2910839 w 2912363"/>
                <a:gd name="T59" fmla="*/ 228600 h 448056"/>
                <a:gd name="T60" fmla="*/ 2909315 w 2912363"/>
                <a:gd name="T61" fmla="*/ 236220 h 448056"/>
                <a:gd name="T62" fmla="*/ 2906266 w 2912363"/>
                <a:gd name="T63" fmla="*/ 243840 h 448056"/>
                <a:gd name="T64" fmla="*/ 2903218 w 2912363"/>
                <a:gd name="T65" fmla="*/ 251460 h 448056"/>
                <a:gd name="T66" fmla="*/ 2898646 w 2912363"/>
                <a:gd name="T67" fmla="*/ 257556 h 448056"/>
                <a:gd name="T68" fmla="*/ 2889503 w 2912363"/>
                <a:gd name="T69" fmla="*/ 269748 h 448056"/>
                <a:gd name="T70" fmla="*/ 2877311 w 2912363"/>
                <a:gd name="T71" fmla="*/ 281940 h 448056"/>
                <a:gd name="T72" fmla="*/ 2863594 w 2912363"/>
                <a:gd name="T73" fmla="*/ 294132 h 448056"/>
                <a:gd name="T74" fmla="*/ 2848354 w 2912363"/>
                <a:gd name="T75" fmla="*/ 304800 h 448056"/>
                <a:gd name="T76" fmla="*/ 2830066 w 2912363"/>
                <a:gd name="T77" fmla="*/ 315468 h 448056"/>
                <a:gd name="T78" fmla="*/ 2810254 w 2912363"/>
                <a:gd name="T79" fmla="*/ 324612 h 448056"/>
                <a:gd name="T80" fmla="*/ 2788918 w 2912363"/>
                <a:gd name="T81" fmla="*/ 335280 h 448056"/>
                <a:gd name="T82" fmla="*/ 2766058 w 2912363"/>
                <a:gd name="T83" fmla="*/ 344424 h 448056"/>
                <a:gd name="T84" fmla="*/ 2740151 w 2912363"/>
                <a:gd name="T85" fmla="*/ 352044 h 448056"/>
                <a:gd name="T86" fmla="*/ 2714242 w 2912363"/>
                <a:gd name="T87" fmla="*/ 361188 h 448056"/>
                <a:gd name="T88" fmla="*/ 2686811 w 2912363"/>
                <a:gd name="T89" fmla="*/ 370332 h 448056"/>
                <a:gd name="T90" fmla="*/ 2656330 w 2912363"/>
                <a:gd name="T91" fmla="*/ 377952 h 448056"/>
                <a:gd name="T92" fmla="*/ 2625851 w 2912363"/>
                <a:gd name="T93" fmla="*/ 385572 h 448056"/>
                <a:gd name="T94" fmla="*/ 2592323 w 2912363"/>
                <a:gd name="T95" fmla="*/ 391668 h 448056"/>
                <a:gd name="T96" fmla="*/ 2558794 w 2912363"/>
                <a:gd name="T97" fmla="*/ 399288 h 448056"/>
                <a:gd name="T98" fmla="*/ 2522218 w 2912363"/>
                <a:gd name="T99" fmla="*/ 405384 h 448056"/>
                <a:gd name="T100" fmla="*/ 2485642 w 2912363"/>
                <a:gd name="T101" fmla="*/ 411480 h 448056"/>
                <a:gd name="T102" fmla="*/ 2447542 w 2912363"/>
                <a:gd name="T103" fmla="*/ 417576 h 448056"/>
                <a:gd name="T104" fmla="*/ 2407918 w 2912363"/>
                <a:gd name="T105" fmla="*/ 422148 h 448056"/>
                <a:gd name="T106" fmla="*/ 2368294 w 2912363"/>
                <a:gd name="T107" fmla="*/ 426720 h 448056"/>
                <a:gd name="T108" fmla="*/ 2327146 w 2912363"/>
                <a:gd name="T109" fmla="*/ 431292 h 448056"/>
                <a:gd name="T110" fmla="*/ 2284475 w 2912363"/>
                <a:gd name="T111" fmla="*/ 435864 h 448056"/>
                <a:gd name="T112" fmla="*/ 2240278 w 2912363"/>
                <a:gd name="T113" fmla="*/ 438912 h 448056"/>
                <a:gd name="T114" fmla="*/ 2196082 w 2912363"/>
                <a:gd name="T115" fmla="*/ 441960 h 448056"/>
                <a:gd name="T116" fmla="*/ 2150363 w 2912363"/>
                <a:gd name="T117" fmla="*/ 443484 h 448056"/>
                <a:gd name="T118" fmla="*/ 2104643 w 2912363"/>
                <a:gd name="T119" fmla="*/ 446532 h 448056"/>
                <a:gd name="T120" fmla="*/ 2057399 w 2912363"/>
                <a:gd name="T121" fmla="*/ 448056 h 448056"/>
                <a:gd name="T122" fmla="*/ 1987295 w 2912363"/>
                <a:gd name="T123" fmla="*/ 448056 h 448056"/>
                <a:gd name="T124" fmla="*/ 1962910 w 2912363"/>
                <a:gd name="T125" fmla="*/ 448056 h 448056"/>
                <a:gd name="T126" fmla="*/ 1961387 w 2912363"/>
                <a:gd name="T127" fmla="*/ 448056 h 448056"/>
                <a:gd name="T128" fmla="*/ 0 w 2912363"/>
                <a:gd name="T129" fmla="*/ 0 h 448056"/>
                <a:gd name="T130" fmla="*/ 2912363 w 2912363"/>
                <a:gd name="T131" fmla="*/ 448056 h 448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 ang="0">
                  <a:pos x="T126" y="T127"/>
                </a:cxn>
              </a:cxnLst>
              <a:rect l="T128" t="T129" r="T130" b="T131"/>
              <a:pathLst>
                <a:path w="2912363" h="448056">
                  <a:moveTo>
                    <a:pt x="0" y="0"/>
                  </a:moveTo>
                  <a:lnTo>
                    <a:pt x="2340861" y="0"/>
                  </a:lnTo>
                  <a:lnTo>
                    <a:pt x="2368294" y="3048"/>
                  </a:lnTo>
                  <a:lnTo>
                    <a:pt x="2407918" y="7620"/>
                  </a:lnTo>
                  <a:lnTo>
                    <a:pt x="2447542" y="12192"/>
                  </a:lnTo>
                  <a:lnTo>
                    <a:pt x="2485642" y="18288"/>
                  </a:lnTo>
                  <a:lnTo>
                    <a:pt x="2522218" y="24384"/>
                  </a:lnTo>
                  <a:lnTo>
                    <a:pt x="2558794" y="30480"/>
                  </a:lnTo>
                  <a:lnTo>
                    <a:pt x="2592323" y="38100"/>
                  </a:lnTo>
                  <a:lnTo>
                    <a:pt x="2624327" y="44196"/>
                  </a:lnTo>
                  <a:lnTo>
                    <a:pt x="2656330" y="51816"/>
                  </a:lnTo>
                  <a:lnTo>
                    <a:pt x="2685287" y="60960"/>
                  </a:lnTo>
                  <a:lnTo>
                    <a:pt x="2714242" y="68580"/>
                  </a:lnTo>
                  <a:lnTo>
                    <a:pt x="2740151" y="77724"/>
                  </a:lnTo>
                  <a:lnTo>
                    <a:pt x="2764534" y="85344"/>
                  </a:lnTo>
                  <a:lnTo>
                    <a:pt x="2788918" y="94488"/>
                  </a:lnTo>
                  <a:lnTo>
                    <a:pt x="2810254" y="105156"/>
                  </a:lnTo>
                  <a:lnTo>
                    <a:pt x="2828542" y="114300"/>
                  </a:lnTo>
                  <a:lnTo>
                    <a:pt x="2846830" y="124968"/>
                  </a:lnTo>
                  <a:lnTo>
                    <a:pt x="2862070" y="135636"/>
                  </a:lnTo>
                  <a:lnTo>
                    <a:pt x="2875787" y="146304"/>
                  </a:lnTo>
                  <a:lnTo>
                    <a:pt x="2887978" y="158496"/>
                  </a:lnTo>
                  <a:lnTo>
                    <a:pt x="2897123" y="170688"/>
                  </a:lnTo>
                  <a:lnTo>
                    <a:pt x="2901694" y="178308"/>
                  </a:lnTo>
                  <a:lnTo>
                    <a:pt x="2906266" y="184404"/>
                  </a:lnTo>
                  <a:lnTo>
                    <a:pt x="2909315" y="192024"/>
                  </a:lnTo>
                  <a:lnTo>
                    <a:pt x="2910839" y="198120"/>
                  </a:lnTo>
                  <a:lnTo>
                    <a:pt x="2912363" y="205740"/>
                  </a:lnTo>
                  <a:lnTo>
                    <a:pt x="2912363" y="220980"/>
                  </a:lnTo>
                  <a:lnTo>
                    <a:pt x="2910839" y="228600"/>
                  </a:lnTo>
                  <a:lnTo>
                    <a:pt x="2909315" y="236220"/>
                  </a:lnTo>
                  <a:lnTo>
                    <a:pt x="2906266" y="243840"/>
                  </a:lnTo>
                  <a:lnTo>
                    <a:pt x="2903218" y="251460"/>
                  </a:lnTo>
                  <a:lnTo>
                    <a:pt x="2898646" y="257556"/>
                  </a:lnTo>
                  <a:lnTo>
                    <a:pt x="2889503" y="269748"/>
                  </a:lnTo>
                  <a:lnTo>
                    <a:pt x="2877311" y="281940"/>
                  </a:lnTo>
                  <a:lnTo>
                    <a:pt x="2863594" y="294132"/>
                  </a:lnTo>
                  <a:lnTo>
                    <a:pt x="2848354" y="304800"/>
                  </a:lnTo>
                  <a:lnTo>
                    <a:pt x="2830066" y="315468"/>
                  </a:lnTo>
                  <a:lnTo>
                    <a:pt x="2810254" y="324612"/>
                  </a:lnTo>
                  <a:lnTo>
                    <a:pt x="2788918" y="335280"/>
                  </a:lnTo>
                  <a:lnTo>
                    <a:pt x="2766058" y="344424"/>
                  </a:lnTo>
                  <a:lnTo>
                    <a:pt x="2740151" y="352044"/>
                  </a:lnTo>
                  <a:lnTo>
                    <a:pt x="2714242" y="361188"/>
                  </a:lnTo>
                  <a:lnTo>
                    <a:pt x="2686811" y="370332"/>
                  </a:lnTo>
                  <a:lnTo>
                    <a:pt x="2656330" y="377952"/>
                  </a:lnTo>
                  <a:lnTo>
                    <a:pt x="2625851" y="385572"/>
                  </a:lnTo>
                  <a:lnTo>
                    <a:pt x="2592323" y="391668"/>
                  </a:lnTo>
                  <a:lnTo>
                    <a:pt x="2558794" y="399288"/>
                  </a:lnTo>
                  <a:lnTo>
                    <a:pt x="2522218" y="405384"/>
                  </a:lnTo>
                  <a:lnTo>
                    <a:pt x="2485642" y="411480"/>
                  </a:lnTo>
                  <a:lnTo>
                    <a:pt x="2447542" y="417576"/>
                  </a:lnTo>
                  <a:lnTo>
                    <a:pt x="2407918" y="422148"/>
                  </a:lnTo>
                  <a:lnTo>
                    <a:pt x="2368294" y="426720"/>
                  </a:lnTo>
                  <a:lnTo>
                    <a:pt x="2327146" y="431292"/>
                  </a:lnTo>
                  <a:lnTo>
                    <a:pt x="2284475" y="435864"/>
                  </a:lnTo>
                  <a:lnTo>
                    <a:pt x="2240278" y="438912"/>
                  </a:lnTo>
                  <a:lnTo>
                    <a:pt x="2196082" y="441960"/>
                  </a:lnTo>
                  <a:lnTo>
                    <a:pt x="2150363" y="443484"/>
                  </a:lnTo>
                  <a:lnTo>
                    <a:pt x="2104643" y="446532"/>
                  </a:lnTo>
                  <a:lnTo>
                    <a:pt x="2057399" y="448056"/>
                  </a:lnTo>
                  <a:lnTo>
                    <a:pt x="1987295" y="448056"/>
                  </a:lnTo>
                  <a:lnTo>
                    <a:pt x="1962910" y="448056"/>
                  </a:lnTo>
                  <a:lnTo>
                    <a:pt x="1961387" y="448056"/>
                  </a:lnTo>
                  <a:lnTo>
                    <a:pt x="0" y="448056"/>
                  </a:lnTo>
                  <a:lnTo>
                    <a:pt x="0" y="409956"/>
                  </a:lnTo>
                  <a:lnTo>
                    <a:pt x="1962910" y="409956"/>
                  </a:lnTo>
                  <a:lnTo>
                    <a:pt x="1987295" y="409956"/>
                  </a:lnTo>
                  <a:lnTo>
                    <a:pt x="2057399" y="409956"/>
                  </a:lnTo>
                  <a:lnTo>
                    <a:pt x="2103119" y="408432"/>
                  </a:lnTo>
                  <a:lnTo>
                    <a:pt x="2148838" y="405384"/>
                  </a:lnTo>
                  <a:lnTo>
                    <a:pt x="2193034" y="403860"/>
                  </a:lnTo>
                  <a:lnTo>
                    <a:pt x="2237231" y="400812"/>
                  </a:lnTo>
                  <a:lnTo>
                    <a:pt x="2281426" y="397764"/>
                  </a:lnTo>
                  <a:lnTo>
                    <a:pt x="2322575" y="393192"/>
                  </a:lnTo>
                  <a:lnTo>
                    <a:pt x="2363723" y="388620"/>
                  </a:lnTo>
                  <a:lnTo>
                    <a:pt x="2403346" y="384048"/>
                  </a:lnTo>
                  <a:lnTo>
                    <a:pt x="2442970" y="379476"/>
                  </a:lnTo>
                  <a:lnTo>
                    <a:pt x="2479546" y="373380"/>
                  </a:lnTo>
                  <a:lnTo>
                    <a:pt x="2516123" y="368808"/>
                  </a:lnTo>
                  <a:lnTo>
                    <a:pt x="2551175" y="361188"/>
                  </a:lnTo>
                  <a:lnTo>
                    <a:pt x="2584703" y="355092"/>
                  </a:lnTo>
                  <a:lnTo>
                    <a:pt x="2616706" y="347472"/>
                  </a:lnTo>
                  <a:lnTo>
                    <a:pt x="2647187" y="341376"/>
                  </a:lnTo>
                  <a:lnTo>
                    <a:pt x="2676142" y="333756"/>
                  </a:lnTo>
                  <a:lnTo>
                    <a:pt x="2702051" y="324612"/>
                  </a:lnTo>
                  <a:lnTo>
                    <a:pt x="2727958" y="316992"/>
                  </a:lnTo>
                  <a:lnTo>
                    <a:pt x="2752342" y="307848"/>
                  </a:lnTo>
                  <a:lnTo>
                    <a:pt x="2773678" y="300228"/>
                  </a:lnTo>
                  <a:lnTo>
                    <a:pt x="2793490" y="291084"/>
                  </a:lnTo>
                  <a:lnTo>
                    <a:pt x="2810254" y="281940"/>
                  </a:lnTo>
                  <a:lnTo>
                    <a:pt x="2827018" y="272796"/>
                  </a:lnTo>
                  <a:lnTo>
                    <a:pt x="2839211" y="263652"/>
                  </a:lnTo>
                  <a:lnTo>
                    <a:pt x="2851403" y="254508"/>
                  </a:lnTo>
                  <a:lnTo>
                    <a:pt x="2859023" y="246888"/>
                  </a:lnTo>
                  <a:lnTo>
                    <a:pt x="2866642" y="237744"/>
                  </a:lnTo>
                  <a:lnTo>
                    <a:pt x="2869690" y="233172"/>
                  </a:lnTo>
                  <a:lnTo>
                    <a:pt x="2871215" y="230124"/>
                  </a:lnTo>
                  <a:lnTo>
                    <a:pt x="2872739" y="227076"/>
                  </a:lnTo>
                  <a:lnTo>
                    <a:pt x="2874263" y="222504"/>
                  </a:lnTo>
                  <a:lnTo>
                    <a:pt x="2874263" y="208788"/>
                  </a:lnTo>
                  <a:lnTo>
                    <a:pt x="2872739" y="205740"/>
                  </a:lnTo>
                  <a:lnTo>
                    <a:pt x="2871215" y="201168"/>
                  </a:lnTo>
                  <a:lnTo>
                    <a:pt x="2869690" y="198120"/>
                  </a:lnTo>
                  <a:lnTo>
                    <a:pt x="2868166" y="193548"/>
                  </a:lnTo>
                  <a:lnTo>
                    <a:pt x="2860546" y="185928"/>
                  </a:lnTo>
                  <a:lnTo>
                    <a:pt x="2851403" y="176784"/>
                  </a:lnTo>
                  <a:lnTo>
                    <a:pt x="2840734" y="167640"/>
                  </a:lnTo>
                  <a:lnTo>
                    <a:pt x="2827018" y="158496"/>
                  </a:lnTo>
                  <a:lnTo>
                    <a:pt x="2811778" y="149352"/>
                  </a:lnTo>
                  <a:lnTo>
                    <a:pt x="2793490" y="140208"/>
                  </a:lnTo>
                  <a:lnTo>
                    <a:pt x="2773678" y="131064"/>
                  </a:lnTo>
                  <a:lnTo>
                    <a:pt x="2752342" y="121920"/>
                  </a:lnTo>
                  <a:lnTo>
                    <a:pt x="2729482" y="112776"/>
                  </a:lnTo>
                  <a:lnTo>
                    <a:pt x="2703575" y="105156"/>
                  </a:lnTo>
                  <a:lnTo>
                    <a:pt x="2676142" y="97536"/>
                  </a:lnTo>
                  <a:lnTo>
                    <a:pt x="2647187" y="89916"/>
                  </a:lnTo>
                  <a:lnTo>
                    <a:pt x="2616706" y="82296"/>
                  </a:lnTo>
                  <a:lnTo>
                    <a:pt x="2584703" y="74676"/>
                  </a:lnTo>
                  <a:lnTo>
                    <a:pt x="2551175" y="68580"/>
                  </a:lnTo>
                  <a:lnTo>
                    <a:pt x="2516123" y="62484"/>
                  </a:lnTo>
                  <a:lnTo>
                    <a:pt x="2481070" y="56388"/>
                  </a:lnTo>
                  <a:lnTo>
                    <a:pt x="2442970" y="50292"/>
                  </a:lnTo>
                  <a:lnTo>
                    <a:pt x="2403346" y="45720"/>
                  </a:lnTo>
                  <a:lnTo>
                    <a:pt x="2363723" y="41148"/>
                  </a:lnTo>
                  <a:lnTo>
                    <a:pt x="2322575" y="36576"/>
                  </a:lnTo>
                  <a:lnTo>
                    <a:pt x="2281426" y="32004"/>
                  </a:lnTo>
                  <a:lnTo>
                    <a:pt x="2238755" y="28956"/>
                  </a:lnTo>
                  <a:lnTo>
                    <a:pt x="2194558" y="25908"/>
                  </a:lnTo>
                  <a:lnTo>
                    <a:pt x="2148838" y="24384"/>
                  </a:lnTo>
                  <a:lnTo>
                    <a:pt x="2103119" y="22860"/>
                  </a:lnTo>
                  <a:lnTo>
                    <a:pt x="2057399" y="21336"/>
                  </a:lnTo>
                  <a:lnTo>
                    <a:pt x="2010154" y="19812"/>
                  </a:lnTo>
                  <a:lnTo>
                    <a:pt x="0" y="19812"/>
                  </a:lnTo>
                  <a:lnTo>
                    <a:pt x="0" y="0"/>
                  </a:lnTo>
                  <a:close/>
                </a:path>
              </a:pathLst>
            </a:custGeom>
            <a:solidFill>
              <a:srgbClr val="C00000"/>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8" name="Shape 77">
              <a:extLst>
                <a:ext uri="{FF2B5EF4-FFF2-40B4-BE49-F238E27FC236}">
                  <a16:creationId xmlns:a16="http://schemas.microsoft.com/office/drawing/2014/main" xmlns="" id="{B4974C18-4A0A-4F34-AE63-303DED4E4F3D}"/>
                </a:ext>
              </a:extLst>
            </p:cNvPr>
            <p:cNvSpPr>
              <a:spLocks/>
            </p:cNvSpPr>
            <p:nvPr/>
          </p:nvSpPr>
          <p:spPr bwMode="auto">
            <a:xfrm>
              <a:off x="32674" y="46238"/>
              <a:ext cx="28057" cy="3962"/>
            </a:xfrm>
            <a:custGeom>
              <a:avLst/>
              <a:gdLst>
                <a:gd name="T0" fmla="*/ 2805685 w 2805685"/>
                <a:gd name="T1" fmla="*/ 1524 h 396240"/>
                <a:gd name="T2" fmla="*/ 912734 w 2805685"/>
                <a:gd name="T3" fmla="*/ 38206 h 396240"/>
                <a:gd name="T4" fmla="*/ 780288 w 2805685"/>
                <a:gd name="T5" fmla="*/ 41148 h 396240"/>
                <a:gd name="T6" fmla="*/ 650748 w 2805685"/>
                <a:gd name="T7" fmla="*/ 47244 h 396240"/>
                <a:gd name="T8" fmla="*/ 528828 w 2805685"/>
                <a:gd name="T9" fmla="*/ 56388 h 396240"/>
                <a:gd name="T10" fmla="*/ 417576 w 2805685"/>
                <a:gd name="T11" fmla="*/ 68580 h 396240"/>
                <a:gd name="T12" fmla="*/ 316992 w 2805685"/>
                <a:gd name="T13" fmla="*/ 85344 h 396240"/>
                <a:gd name="T14" fmla="*/ 228600 w 2805685"/>
                <a:gd name="T15" fmla="*/ 103632 h 396240"/>
                <a:gd name="T16" fmla="*/ 155448 w 2805685"/>
                <a:gd name="T17" fmla="*/ 123444 h 396240"/>
                <a:gd name="T18" fmla="*/ 99060 w 2805685"/>
                <a:gd name="T19" fmla="*/ 146304 h 396240"/>
                <a:gd name="T20" fmla="*/ 59436 w 2805685"/>
                <a:gd name="T21" fmla="*/ 167640 h 396240"/>
                <a:gd name="T22" fmla="*/ 45720 w 2805685"/>
                <a:gd name="T23" fmla="*/ 181356 h 396240"/>
                <a:gd name="T24" fmla="*/ 39624 w 2805685"/>
                <a:gd name="T25" fmla="*/ 192024 h 396240"/>
                <a:gd name="T26" fmla="*/ 39624 w 2805685"/>
                <a:gd name="T27" fmla="*/ 204216 h 396240"/>
                <a:gd name="T28" fmla="*/ 44196 w 2805685"/>
                <a:gd name="T29" fmla="*/ 213359 h 396240"/>
                <a:gd name="T30" fmla="*/ 68580 w 2805685"/>
                <a:gd name="T31" fmla="*/ 234695 h 396240"/>
                <a:gd name="T32" fmla="*/ 114300 w 2805685"/>
                <a:gd name="T33" fmla="*/ 257556 h 396240"/>
                <a:gd name="T34" fmla="*/ 178308 w 2805685"/>
                <a:gd name="T35" fmla="*/ 280416 h 396240"/>
                <a:gd name="T36" fmla="*/ 256032 w 2805685"/>
                <a:gd name="T37" fmla="*/ 300228 h 396240"/>
                <a:gd name="T38" fmla="*/ 348996 w 2805685"/>
                <a:gd name="T39" fmla="*/ 316992 h 396240"/>
                <a:gd name="T40" fmla="*/ 452628 w 2805685"/>
                <a:gd name="T41" fmla="*/ 332232 h 396240"/>
                <a:gd name="T42" fmla="*/ 568452 w 2805685"/>
                <a:gd name="T43" fmla="*/ 344424 h 396240"/>
                <a:gd name="T44" fmla="*/ 693420 w 2805685"/>
                <a:gd name="T45" fmla="*/ 352044 h 396240"/>
                <a:gd name="T46" fmla="*/ 824484 w 2805685"/>
                <a:gd name="T47" fmla="*/ 356616 h 396240"/>
                <a:gd name="T48" fmla="*/ 2805685 w 2805685"/>
                <a:gd name="T49" fmla="*/ 396240 h 396240"/>
                <a:gd name="T50" fmla="*/ 778764 w 2805685"/>
                <a:gd name="T51" fmla="*/ 394716 h 396240"/>
                <a:gd name="T52" fmla="*/ 647700 w 2805685"/>
                <a:gd name="T53" fmla="*/ 388620 h 396240"/>
                <a:gd name="T54" fmla="*/ 525780 w 2805685"/>
                <a:gd name="T55" fmla="*/ 377952 h 396240"/>
                <a:gd name="T56" fmla="*/ 413004 w 2805685"/>
                <a:gd name="T57" fmla="*/ 365759 h 396240"/>
                <a:gd name="T58" fmla="*/ 309372 w 2805685"/>
                <a:gd name="T59" fmla="*/ 348995 h 396240"/>
                <a:gd name="T60" fmla="*/ 219456 w 2805685"/>
                <a:gd name="T61" fmla="*/ 330707 h 396240"/>
                <a:gd name="T62" fmla="*/ 143256 w 2805685"/>
                <a:gd name="T63" fmla="*/ 309371 h 396240"/>
                <a:gd name="T64" fmla="*/ 82296 w 2805685"/>
                <a:gd name="T65" fmla="*/ 284988 h 396240"/>
                <a:gd name="T66" fmla="*/ 36576 w 2805685"/>
                <a:gd name="T67" fmla="*/ 259080 h 396240"/>
                <a:gd name="T68" fmla="*/ 13716 w 2805685"/>
                <a:gd name="T69" fmla="*/ 236220 h 396240"/>
                <a:gd name="T70" fmla="*/ 3048 w 2805685"/>
                <a:gd name="T71" fmla="*/ 213359 h 396240"/>
                <a:gd name="T72" fmla="*/ 0 w 2805685"/>
                <a:gd name="T73" fmla="*/ 192024 h 396240"/>
                <a:gd name="T74" fmla="*/ 6096 w 2805685"/>
                <a:gd name="T75" fmla="*/ 172212 h 396240"/>
                <a:gd name="T76" fmla="*/ 22860 w 2805685"/>
                <a:gd name="T77" fmla="*/ 149352 h 396240"/>
                <a:gd name="T78" fmla="*/ 64008 w 2805685"/>
                <a:gd name="T79" fmla="*/ 120396 h 396240"/>
                <a:gd name="T80" fmla="*/ 120396 w 2805685"/>
                <a:gd name="T81" fmla="*/ 96012 h 396240"/>
                <a:gd name="T82" fmla="*/ 192024 w 2805685"/>
                <a:gd name="T83" fmla="*/ 73152 h 396240"/>
                <a:gd name="T84" fmla="*/ 277368 w 2805685"/>
                <a:gd name="T85" fmla="*/ 53340 h 396240"/>
                <a:gd name="T86" fmla="*/ 376428 w 2805685"/>
                <a:gd name="T87" fmla="*/ 36576 h 396240"/>
                <a:gd name="T88" fmla="*/ 486156 w 2805685"/>
                <a:gd name="T89" fmla="*/ 22860 h 396240"/>
                <a:gd name="T90" fmla="*/ 606552 w 2805685"/>
                <a:gd name="T91" fmla="*/ 12192 h 396240"/>
                <a:gd name="T92" fmla="*/ 734568 w 2805685"/>
                <a:gd name="T93" fmla="*/ 4572 h 396240"/>
                <a:gd name="T94" fmla="*/ 868680 w 2805685"/>
                <a:gd name="T95" fmla="*/ 1524 h 396240"/>
                <a:gd name="T96" fmla="*/ 0 w 2805685"/>
                <a:gd name="T97" fmla="*/ 0 h 396240"/>
                <a:gd name="T98" fmla="*/ 2805685 w 2805685"/>
                <a:gd name="T99" fmla="*/ 396240 h 396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T96" t="T97" r="T98" b="T99"/>
              <a:pathLst>
                <a:path w="2805685" h="396240">
                  <a:moveTo>
                    <a:pt x="915924" y="0"/>
                  </a:moveTo>
                  <a:lnTo>
                    <a:pt x="919353" y="1524"/>
                  </a:lnTo>
                  <a:lnTo>
                    <a:pt x="2805685" y="1524"/>
                  </a:lnTo>
                  <a:lnTo>
                    <a:pt x="2805685" y="39624"/>
                  </a:lnTo>
                  <a:lnTo>
                    <a:pt x="915924" y="39624"/>
                  </a:lnTo>
                  <a:lnTo>
                    <a:pt x="912734" y="38206"/>
                  </a:lnTo>
                  <a:lnTo>
                    <a:pt x="870204" y="39624"/>
                  </a:lnTo>
                  <a:lnTo>
                    <a:pt x="824484" y="39624"/>
                  </a:lnTo>
                  <a:lnTo>
                    <a:pt x="780288" y="41148"/>
                  </a:lnTo>
                  <a:lnTo>
                    <a:pt x="736092" y="42672"/>
                  </a:lnTo>
                  <a:lnTo>
                    <a:pt x="693420" y="44196"/>
                  </a:lnTo>
                  <a:lnTo>
                    <a:pt x="650748" y="47244"/>
                  </a:lnTo>
                  <a:lnTo>
                    <a:pt x="609600" y="50292"/>
                  </a:lnTo>
                  <a:lnTo>
                    <a:pt x="568452" y="53340"/>
                  </a:lnTo>
                  <a:lnTo>
                    <a:pt x="528828" y="56388"/>
                  </a:lnTo>
                  <a:lnTo>
                    <a:pt x="490728" y="60960"/>
                  </a:lnTo>
                  <a:lnTo>
                    <a:pt x="452628" y="64008"/>
                  </a:lnTo>
                  <a:lnTo>
                    <a:pt x="417576" y="68580"/>
                  </a:lnTo>
                  <a:lnTo>
                    <a:pt x="382524" y="74676"/>
                  </a:lnTo>
                  <a:lnTo>
                    <a:pt x="348996" y="79248"/>
                  </a:lnTo>
                  <a:lnTo>
                    <a:pt x="316992" y="85344"/>
                  </a:lnTo>
                  <a:lnTo>
                    <a:pt x="286512" y="91440"/>
                  </a:lnTo>
                  <a:lnTo>
                    <a:pt x="256032" y="97536"/>
                  </a:lnTo>
                  <a:lnTo>
                    <a:pt x="228600" y="103632"/>
                  </a:lnTo>
                  <a:lnTo>
                    <a:pt x="202692" y="109728"/>
                  </a:lnTo>
                  <a:lnTo>
                    <a:pt x="178308" y="117348"/>
                  </a:lnTo>
                  <a:lnTo>
                    <a:pt x="155448" y="123444"/>
                  </a:lnTo>
                  <a:lnTo>
                    <a:pt x="134112" y="131064"/>
                  </a:lnTo>
                  <a:lnTo>
                    <a:pt x="115824" y="138684"/>
                  </a:lnTo>
                  <a:lnTo>
                    <a:pt x="99060" y="146304"/>
                  </a:lnTo>
                  <a:lnTo>
                    <a:pt x="83820" y="153924"/>
                  </a:lnTo>
                  <a:lnTo>
                    <a:pt x="70104" y="161544"/>
                  </a:lnTo>
                  <a:lnTo>
                    <a:pt x="59436" y="167640"/>
                  </a:lnTo>
                  <a:lnTo>
                    <a:pt x="51816" y="175259"/>
                  </a:lnTo>
                  <a:lnTo>
                    <a:pt x="44196" y="184404"/>
                  </a:lnTo>
                  <a:lnTo>
                    <a:pt x="45720" y="181356"/>
                  </a:lnTo>
                  <a:lnTo>
                    <a:pt x="41148" y="187452"/>
                  </a:lnTo>
                  <a:lnTo>
                    <a:pt x="39624" y="190500"/>
                  </a:lnTo>
                  <a:lnTo>
                    <a:pt x="39624" y="192024"/>
                  </a:lnTo>
                  <a:lnTo>
                    <a:pt x="38100" y="195071"/>
                  </a:lnTo>
                  <a:lnTo>
                    <a:pt x="38100" y="201168"/>
                  </a:lnTo>
                  <a:lnTo>
                    <a:pt x="39624" y="204216"/>
                  </a:lnTo>
                  <a:lnTo>
                    <a:pt x="39624" y="207264"/>
                  </a:lnTo>
                  <a:lnTo>
                    <a:pt x="45720" y="214883"/>
                  </a:lnTo>
                  <a:lnTo>
                    <a:pt x="44196" y="213359"/>
                  </a:lnTo>
                  <a:lnTo>
                    <a:pt x="50292" y="219456"/>
                  </a:lnTo>
                  <a:lnTo>
                    <a:pt x="57912" y="227076"/>
                  </a:lnTo>
                  <a:lnTo>
                    <a:pt x="68580" y="234695"/>
                  </a:lnTo>
                  <a:lnTo>
                    <a:pt x="82296" y="242316"/>
                  </a:lnTo>
                  <a:lnTo>
                    <a:pt x="97536" y="249936"/>
                  </a:lnTo>
                  <a:lnTo>
                    <a:pt x="114300" y="257556"/>
                  </a:lnTo>
                  <a:lnTo>
                    <a:pt x="134112" y="265176"/>
                  </a:lnTo>
                  <a:lnTo>
                    <a:pt x="155448" y="272795"/>
                  </a:lnTo>
                  <a:lnTo>
                    <a:pt x="178308" y="280416"/>
                  </a:lnTo>
                  <a:lnTo>
                    <a:pt x="202692" y="286512"/>
                  </a:lnTo>
                  <a:lnTo>
                    <a:pt x="228600" y="294132"/>
                  </a:lnTo>
                  <a:lnTo>
                    <a:pt x="256032" y="300228"/>
                  </a:lnTo>
                  <a:lnTo>
                    <a:pt x="284988" y="306324"/>
                  </a:lnTo>
                  <a:lnTo>
                    <a:pt x="316992" y="312420"/>
                  </a:lnTo>
                  <a:lnTo>
                    <a:pt x="348996" y="316992"/>
                  </a:lnTo>
                  <a:lnTo>
                    <a:pt x="382524" y="323088"/>
                  </a:lnTo>
                  <a:lnTo>
                    <a:pt x="417576" y="327659"/>
                  </a:lnTo>
                  <a:lnTo>
                    <a:pt x="452628" y="332232"/>
                  </a:lnTo>
                  <a:lnTo>
                    <a:pt x="490728" y="336804"/>
                  </a:lnTo>
                  <a:lnTo>
                    <a:pt x="528828" y="339852"/>
                  </a:lnTo>
                  <a:lnTo>
                    <a:pt x="568452" y="344424"/>
                  </a:lnTo>
                  <a:lnTo>
                    <a:pt x="609600" y="347471"/>
                  </a:lnTo>
                  <a:lnTo>
                    <a:pt x="650748" y="350520"/>
                  </a:lnTo>
                  <a:lnTo>
                    <a:pt x="693420" y="352044"/>
                  </a:lnTo>
                  <a:lnTo>
                    <a:pt x="736092" y="355092"/>
                  </a:lnTo>
                  <a:lnTo>
                    <a:pt x="780288" y="356616"/>
                  </a:lnTo>
                  <a:lnTo>
                    <a:pt x="824484" y="356616"/>
                  </a:lnTo>
                  <a:lnTo>
                    <a:pt x="870204" y="358140"/>
                  </a:lnTo>
                  <a:lnTo>
                    <a:pt x="2805685" y="358140"/>
                  </a:lnTo>
                  <a:lnTo>
                    <a:pt x="2805685" y="396240"/>
                  </a:lnTo>
                  <a:lnTo>
                    <a:pt x="870204" y="396240"/>
                  </a:lnTo>
                  <a:lnTo>
                    <a:pt x="824484" y="394716"/>
                  </a:lnTo>
                  <a:lnTo>
                    <a:pt x="778764" y="394716"/>
                  </a:lnTo>
                  <a:lnTo>
                    <a:pt x="734568" y="393192"/>
                  </a:lnTo>
                  <a:lnTo>
                    <a:pt x="690372" y="390144"/>
                  </a:lnTo>
                  <a:lnTo>
                    <a:pt x="647700" y="388620"/>
                  </a:lnTo>
                  <a:lnTo>
                    <a:pt x="606552" y="385571"/>
                  </a:lnTo>
                  <a:lnTo>
                    <a:pt x="565404" y="382524"/>
                  </a:lnTo>
                  <a:lnTo>
                    <a:pt x="525780" y="377952"/>
                  </a:lnTo>
                  <a:lnTo>
                    <a:pt x="486156" y="374904"/>
                  </a:lnTo>
                  <a:lnTo>
                    <a:pt x="449580" y="370332"/>
                  </a:lnTo>
                  <a:lnTo>
                    <a:pt x="413004" y="365759"/>
                  </a:lnTo>
                  <a:lnTo>
                    <a:pt x="376428" y="359664"/>
                  </a:lnTo>
                  <a:lnTo>
                    <a:pt x="342900" y="355092"/>
                  </a:lnTo>
                  <a:lnTo>
                    <a:pt x="309372" y="348995"/>
                  </a:lnTo>
                  <a:lnTo>
                    <a:pt x="278892" y="342900"/>
                  </a:lnTo>
                  <a:lnTo>
                    <a:pt x="248412" y="336804"/>
                  </a:lnTo>
                  <a:lnTo>
                    <a:pt x="219456" y="330707"/>
                  </a:lnTo>
                  <a:lnTo>
                    <a:pt x="193548" y="323088"/>
                  </a:lnTo>
                  <a:lnTo>
                    <a:pt x="167640" y="316992"/>
                  </a:lnTo>
                  <a:lnTo>
                    <a:pt x="143256" y="309371"/>
                  </a:lnTo>
                  <a:lnTo>
                    <a:pt x="121920" y="301752"/>
                  </a:lnTo>
                  <a:lnTo>
                    <a:pt x="100584" y="294132"/>
                  </a:lnTo>
                  <a:lnTo>
                    <a:pt x="82296" y="284988"/>
                  </a:lnTo>
                  <a:lnTo>
                    <a:pt x="65532" y="277368"/>
                  </a:lnTo>
                  <a:lnTo>
                    <a:pt x="50292" y="268224"/>
                  </a:lnTo>
                  <a:lnTo>
                    <a:pt x="36576" y="259080"/>
                  </a:lnTo>
                  <a:lnTo>
                    <a:pt x="24384" y="248412"/>
                  </a:lnTo>
                  <a:lnTo>
                    <a:pt x="15240" y="237744"/>
                  </a:lnTo>
                  <a:lnTo>
                    <a:pt x="13716" y="236220"/>
                  </a:lnTo>
                  <a:lnTo>
                    <a:pt x="7620" y="227076"/>
                  </a:lnTo>
                  <a:lnTo>
                    <a:pt x="4572" y="220980"/>
                  </a:lnTo>
                  <a:lnTo>
                    <a:pt x="3048" y="213359"/>
                  </a:lnTo>
                  <a:lnTo>
                    <a:pt x="1524" y="207264"/>
                  </a:lnTo>
                  <a:lnTo>
                    <a:pt x="0" y="199644"/>
                  </a:lnTo>
                  <a:lnTo>
                    <a:pt x="0" y="192024"/>
                  </a:lnTo>
                  <a:lnTo>
                    <a:pt x="1524" y="185928"/>
                  </a:lnTo>
                  <a:lnTo>
                    <a:pt x="3048" y="178307"/>
                  </a:lnTo>
                  <a:lnTo>
                    <a:pt x="6096" y="172212"/>
                  </a:lnTo>
                  <a:lnTo>
                    <a:pt x="13716" y="161544"/>
                  </a:lnTo>
                  <a:cubicBezTo>
                    <a:pt x="13716" y="160020"/>
                    <a:pt x="15240" y="160020"/>
                    <a:pt x="15240" y="158496"/>
                  </a:cubicBezTo>
                  <a:lnTo>
                    <a:pt x="22860" y="149352"/>
                  </a:lnTo>
                  <a:lnTo>
                    <a:pt x="35052" y="138684"/>
                  </a:lnTo>
                  <a:lnTo>
                    <a:pt x="48768" y="129540"/>
                  </a:lnTo>
                  <a:lnTo>
                    <a:pt x="64008" y="120396"/>
                  </a:lnTo>
                  <a:lnTo>
                    <a:pt x="80772" y="111252"/>
                  </a:lnTo>
                  <a:lnTo>
                    <a:pt x="100584" y="103632"/>
                  </a:lnTo>
                  <a:lnTo>
                    <a:pt x="120396" y="96012"/>
                  </a:lnTo>
                  <a:lnTo>
                    <a:pt x="143256" y="88392"/>
                  </a:lnTo>
                  <a:lnTo>
                    <a:pt x="166116" y="80772"/>
                  </a:lnTo>
                  <a:lnTo>
                    <a:pt x="192024" y="73152"/>
                  </a:lnTo>
                  <a:lnTo>
                    <a:pt x="219456" y="67056"/>
                  </a:lnTo>
                  <a:lnTo>
                    <a:pt x="248412" y="59436"/>
                  </a:lnTo>
                  <a:lnTo>
                    <a:pt x="277368" y="53340"/>
                  </a:lnTo>
                  <a:lnTo>
                    <a:pt x="309372" y="47244"/>
                  </a:lnTo>
                  <a:lnTo>
                    <a:pt x="342900" y="41148"/>
                  </a:lnTo>
                  <a:lnTo>
                    <a:pt x="376428" y="36576"/>
                  </a:lnTo>
                  <a:lnTo>
                    <a:pt x="411480" y="32004"/>
                  </a:lnTo>
                  <a:lnTo>
                    <a:pt x="448056" y="27432"/>
                  </a:lnTo>
                  <a:lnTo>
                    <a:pt x="486156" y="22860"/>
                  </a:lnTo>
                  <a:lnTo>
                    <a:pt x="525780" y="18288"/>
                  </a:lnTo>
                  <a:lnTo>
                    <a:pt x="565404" y="15240"/>
                  </a:lnTo>
                  <a:lnTo>
                    <a:pt x="606552" y="12192"/>
                  </a:lnTo>
                  <a:lnTo>
                    <a:pt x="647700" y="9144"/>
                  </a:lnTo>
                  <a:lnTo>
                    <a:pt x="690372" y="6096"/>
                  </a:lnTo>
                  <a:lnTo>
                    <a:pt x="734568" y="4572"/>
                  </a:lnTo>
                  <a:lnTo>
                    <a:pt x="778764" y="3048"/>
                  </a:lnTo>
                  <a:lnTo>
                    <a:pt x="822960" y="1524"/>
                  </a:lnTo>
                  <a:lnTo>
                    <a:pt x="868680" y="1524"/>
                  </a:lnTo>
                  <a:lnTo>
                    <a:pt x="915924" y="0"/>
                  </a:lnTo>
                  <a:close/>
                </a:path>
              </a:pathLst>
            </a:custGeom>
            <a:solidFill>
              <a:srgbClr val="C00000"/>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9" name="Shape 78">
              <a:extLst>
                <a:ext uri="{FF2B5EF4-FFF2-40B4-BE49-F238E27FC236}">
                  <a16:creationId xmlns:a16="http://schemas.microsoft.com/office/drawing/2014/main" xmlns="" id="{DFCDE73C-8FE2-4B8C-8BF5-BA4A84160DAC}"/>
                </a:ext>
              </a:extLst>
            </p:cNvPr>
            <p:cNvSpPr>
              <a:spLocks/>
            </p:cNvSpPr>
            <p:nvPr/>
          </p:nvSpPr>
          <p:spPr bwMode="auto">
            <a:xfrm>
              <a:off x="60731" y="46253"/>
              <a:ext cx="28057" cy="3947"/>
            </a:xfrm>
            <a:custGeom>
              <a:avLst/>
              <a:gdLst>
                <a:gd name="T0" fmla="*/ 2026920 w 2805684"/>
                <a:gd name="T1" fmla="*/ 1524 h 394716"/>
                <a:gd name="T2" fmla="*/ 2156460 w 2805684"/>
                <a:gd name="T3" fmla="*/ 7620 h 394716"/>
                <a:gd name="T4" fmla="*/ 2279904 w 2805684"/>
                <a:gd name="T5" fmla="*/ 16764 h 394716"/>
                <a:gd name="T6" fmla="*/ 2392680 w 2805684"/>
                <a:gd name="T7" fmla="*/ 30480 h 394716"/>
                <a:gd name="T8" fmla="*/ 2494788 w 2805684"/>
                <a:gd name="T9" fmla="*/ 45720 h 394716"/>
                <a:gd name="T10" fmla="*/ 2586228 w 2805684"/>
                <a:gd name="T11" fmla="*/ 64008 h 394716"/>
                <a:gd name="T12" fmla="*/ 2662428 w 2805684"/>
                <a:gd name="T13" fmla="*/ 86868 h 394716"/>
                <a:gd name="T14" fmla="*/ 2723388 w 2805684"/>
                <a:gd name="T15" fmla="*/ 109728 h 394716"/>
                <a:gd name="T16" fmla="*/ 2769108 w 2805684"/>
                <a:gd name="T17" fmla="*/ 137160 h 394716"/>
                <a:gd name="T18" fmla="*/ 2791968 w 2805684"/>
                <a:gd name="T19" fmla="*/ 160020 h 394716"/>
                <a:gd name="T20" fmla="*/ 2802636 w 2805684"/>
                <a:gd name="T21" fmla="*/ 181357 h 394716"/>
                <a:gd name="T22" fmla="*/ 2804160 w 2805684"/>
                <a:gd name="T23" fmla="*/ 202693 h 394716"/>
                <a:gd name="T24" fmla="*/ 2798064 w 2805684"/>
                <a:gd name="T25" fmla="*/ 222505 h 394716"/>
                <a:gd name="T26" fmla="*/ 2781300 w 2805684"/>
                <a:gd name="T27" fmla="*/ 245364 h 394716"/>
                <a:gd name="T28" fmla="*/ 2741676 w 2805684"/>
                <a:gd name="T29" fmla="*/ 274321 h 394716"/>
                <a:gd name="T30" fmla="*/ 2685288 w 2805684"/>
                <a:gd name="T31" fmla="*/ 300229 h 394716"/>
                <a:gd name="T32" fmla="*/ 2613660 w 2805684"/>
                <a:gd name="T33" fmla="*/ 321564 h 394716"/>
                <a:gd name="T34" fmla="*/ 2526792 w 2805684"/>
                <a:gd name="T35" fmla="*/ 341376 h 394716"/>
                <a:gd name="T36" fmla="*/ 2429256 w 2805684"/>
                <a:gd name="T37" fmla="*/ 358141 h 394716"/>
                <a:gd name="T38" fmla="*/ 2319528 w 2805684"/>
                <a:gd name="T39" fmla="*/ 373381 h 394716"/>
                <a:gd name="T40" fmla="*/ 2199132 w 2805684"/>
                <a:gd name="T41" fmla="*/ 384048 h 394716"/>
                <a:gd name="T42" fmla="*/ 2071116 w 2805684"/>
                <a:gd name="T43" fmla="*/ 391669 h 394716"/>
                <a:gd name="T44" fmla="*/ 1935480 w 2805684"/>
                <a:gd name="T45" fmla="*/ 394716 h 394716"/>
                <a:gd name="T46" fmla="*/ 0 w 2805684"/>
                <a:gd name="T47" fmla="*/ 394716 h 394716"/>
                <a:gd name="T48" fmla="*/ 1914144 w 2805684"/>
                <a:gd name="T49" fmla="*/ 356616 h 394716"/>
                <a:gd name="T50" fmla="*/ 2025396 w 2805684"/>
                <a:gd name="T51" fmla="*/ 355093 h 394716"/>
                <a:gd name="T52" fmla="*/ 2154936 w 2805684"/>
                <a:gd name="T53" fmla="*/ 348997 h 394716"/>
                <a:gd name="T54" fmla="*/ 2275332 w 2805684"/>
                <a:gd name="T55" fmla="*/ 338329 h 394716"/>
                <a:gd name="T56" fmla="*/ 2388108 w 2805684"/>
                <a:gd name="T57" fmla="*/ 326136 h 394716"/>
                <a:gd name="T58" fmla="*/ 2488692 w 2805684"/>
                <a:gd name="T59" fmla="*/ 310897 h 394716"/>
                <a:gd name="T60" fmla="*/ 2577084 w 2805684"/>
                <a:gd name="T61" fmla="*/ 292609 h 394716"/>
                <a:gd name="T62" fmla="*/ 2650236 w 2805684"/>
                <a:gd name="T63" fmla="*/ 271272 h 394716"/>
                <a:gd name="T64" fmla="*/ 2706624 w 2805684"/>
                <a:gd name="T65" fmla="*/ 249936 h 394716"/>
                <a:gd name="T66" fmla="*/ 2744724 w 2805684"/>
                <a:gd name="T67" fmla="*/ 227076 h 394716"/>
                <a:gd name="T68" fmla="*/ 2759964 w 2805684"/>
                <a:gd name="T69" fmla="*/ 213360 h 394716"/>
                <a:gd name="T70" fmla="*/ 2766060 w 2805684"/>
                <a:gd name="T71" fmla="*/ 202693 h 394716"/>
                <a:gd name="T72" fmla="*/ 2767584 w 2805684"/>
                <a:gd name="T73" fmla="*/ 195072 h 394716"/>
                <a:gd name="T74" fmla="*/ 2764536 w 2805684"/>
                <a:gd name="T75" fmla="*/ 188976 h 394716"/>
                <a:gd name="T76" fmla="*/ 2746248 w 2805684"/>
                <a:gd name="T77" fmla="*/ 167640 h 394716"/>
                <a:gd name="T78" fmla="*/ 2708148 w 2805684"/>
                <a:gd name="T79" fmla="*/ 144780 h 394716"/>
                <a:gd name="T80" fmla="*/ 2650236 w 2805684"/>
                <a:gd name="T81" fmla="*/ 121920 h 394716"/>
                <a:gd name="T82" fmla="*/ 2577084 w 2805684"/>
                <a:gd name="T83" fmla="*/ 102108 h 394716"/>
                <a:gd name="T84" fmla="*/ 2488692 w 2805684"/>
                <a:gd name="T85" fmla="*/ 83820 h 394716"/>
                <a:gd name="T86" fmla="*/ 2388108 w 2805684"/>
                <a:gd name="T87" fmla="*/ 67056 h 394716"/>
                <a:gd name="T88" fmla="*/ 2276856 w 2805684"/>
                <a:gd name="T89" fmla="*/ 54864 h 394716"/>
                <a:gd name="T90" fmla="*/ 2154936 w 2805684"/>
                <a:gd name="T91" fmla="*/ 45720 h 394716"/>
                <a:gd name="T92" fmla="*/ 2025396 w 2805684"/>
                <a:gd name="T93" fmla="*/ 39624 h 394716"/>
                <a:gd name="T94" fmla="*/ 0 w 2805684"/>
                <a:gd name="T95" fmla="*/ 0 h 394716"/>
                <a:gd name="T96" fmla="*/ 0 w 2805684"/>
                <a:gd name="T97" fmla="*/ 0 h 394716"/>
                <a:gd name="T98" fmla="*/ 2805684 w 2805684"/>
                <a:gd name="T99" fmla="*/ 394716 h 394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T96" t="T97" r="T98" b="T99"/>
              <a:pathLst>
                <a:path w="2805684" h="394716">
                  <a:moveTo>
                    <a:pt x="0" y="0"/>
                  </a:moveTo>
                  <a:lnTo>
                    <a:pt x="1981200" y="0"/>
                  </a:lnTo>
                  <a:lnTo>
                    <a:pt x="2026920" y="1524"/>
                  </a:lnTo>
                  <a:lnTo>
                    <a:pt x="2071116" y="3048"/>
                  </a:lnTo>
                  <a:lnTo>
                    <a:pt x="2113788" y="4572"/>
                  </a:lnTo>
                  <a:lnTo>
                    <a:pt x="2156460" y="7620"/>
                  </a:lnTo>
                  <a:lnTo>
                    <a:pt x="2199132" y="10668"/>
                  </a:lnTo>
                  <a:lnTo>
                    <a:pt x="2240280" y="13716"/>
                  </a:lnTo>
                  <a:lnTo>
                    <a:pt x="2279904" y="16764"/>
                  </a:lnTo>
                  <a:lnTo>
                    <a:pt x="2318004" y="21336"/>
                  </a:lnTo>
                  <a:lnTo>
                    <a:pt x="2356104" y="25908"/>
                  </a:lnTo>
                  <a:lnTo>
                    <a:pt x="2392680" y="30480"/>
                  </a:lnTo>
                  <a:lnTo>
                    <a:pt x="2427732" y="35052"/>
                  </a:lnTo>
                  <a:lnTo>
                    <a:pt x="2462784" y="39624"/>
                  </a:lnTo>
                  <a:lnTo>
                    <a:pt x="2494788" y="45720"/>
                  </a:lnTo>
                  <a:lnTo>
                    <a:pt x="2526792" y="51816"/>
                  </a:lnTo>
                  <a:lnTo>
                    <a:pt x="2557272" y="57912"/>
                  </a:lnTo>
                  <a:lnTo>
                    <a:pt x="2586228" y="64008"/>
                  </a:lnTo>
                  <a:lnTo>
                    <a:pt x="2612136" y="71628"/>
                  </a:lnTo>
                  <a:lnTo>
                    <a:pt x="2638044" y="79248"/>
                  </a:lnTo>
                  <a:lnTo>
                    <a:pt x="2662428" y="86868"/>
                  </a:lnTo>
                  <a:lnTo>
                    <a:pt x="2683764" y="94488"/>
                  </a:lnTo>
                  <a:lnTo>
                    <a:pt x="2705100" y="102108"/>
                  </a:lnTo>
                  <a:lnTo>
                    <a:pt x="2723388" y="109728"/>
                  </a:lnTo>
                  <a:lnTo>
                    <a:pt x="2740152" y="118872"/>
                  </a:lnTo>
                  <a:lnTo>
                    <a:pt x="2755392" y="128016"/>
                  </a:lnTo>
                  <a:lnTo>
                    <a:pt x="2769108" y="137160"/>
                  </a:lnTo>
                  <a:lnTo>
                    <a:pt x="2779776" y="146304"/>
                  </a:lnTo>
                  <a:lnTo>
                    <a:pt x="2790444" y="156972"/>
                  </a:lnTo>
                  <a:cubicBezTo>
                    <a:pt x="2790444" y="158496"/>
                    <a:pt x="2790444" y="158496"/>
                    <a:pt x="2791968" y="160020"/>
                  </a:cubicBezTo>
                  <a:lnTo>
                    <a:pt x="2798064" y="169164"/>
                  </a:lnTo>
                  <a:lnTo>
                    <a:pt x="2801112" y="175260"/>
                  </a:lnTo>
                  <a:lnTo>
                    <a:pt x="2802636" y="181357"/>
                  </a:lnTo>
                  <a:lnTo>
                    <a:pt x="2804160" y="188976"/>
                  </a:lnTo>
                  <a:lnTo>
                    <a:pt x="2805684" y="195072"/>
                  </a:lnTo>
                  <a:lnTo>
                    <a:pt x="2804160" y="202693"/>
                  </a:lnTo>
                  <a:lnTo>
                    <a:pt x="2804160" y="210312"/>
                  </a:lnTo>
                  <a:lnTo>
                    <a:pt x="2801112" y="216409"/>
                  </a:lnTo>
                  <a:lnTo>
                    <a:pt x="2798064" y="222505"/>
                  </a:lnTo>
                  <a:lnTo>
                    <a:pt x="2791968" y="234697"/>
                  </a:lnTo>
                  <a:cubicBezTo>
                    <a:pt x="2790444" y="234697"/>
                    <a:pt x="2790444" y="236221"/>
                    <a:pt x="2790444" y="236221"/>
                  </a:cubicBezTo>
                  <a:lnTo>
                    <a:pt x="2781300" y="245364"/>
                  </a:lnTo>
                  <a:lnTo>
                    <a:pt x="2770632" y="256033"/>
                  </a:lnTo>
                  <a:lnTo>
                    <a:pt x="2756916" y="265176"/>
                  </a:lnTo>
                  <a:lnTo>
                    <a:pt x="2741676" y="274321"/>
                  </a:lnTo>
                  <a:lnTo>
                    <a:pt x="2723388" y="283464"/>
                  </a:lnTo>
                  <a:lnTo>
                    <a:pt x="2705100" y="291084"/>
                  </a:lnTo>
                  <a:lnTo>
                    <a:pt x="2685288" y="300229"/>
                  </a:lnTo>
                  <a:lnTo>
                    <a:pt x="2662428" y="307848"/>
                  </a:lnTo>
                  <a:lnTo>
                    <a:pt x="2638044" y="315469"/>
                  </a:lnTo>
                  <a:lnTo>
                    <a:pt x="2613660" y="321564"/>
                  </a:lnTo>
                  <a:lnTo>
                    <a:pt x="2586228" y="329184"/>
                  </a:lnTo>
                  <a:lnTo>
                    <a:pt x="2557272" y="335281"/>
                  </a:lnTo>
                  <a:lnTo>
                    <a:pt x="2526792" y="341376"/>
                  </a:lnTo>
                  <a:lnTo>
                    <a:pt x="2496312" y="347472"/>
                  </a:lnTo>
                  <a:lnTo>
                    <a:pt x="2462784" y="353569"/>
                  </a:lnTo>
                  <a:lnTo>
                    <a:pt x="2429256" y="358141"/>
                  </a:lnTo>
                  <a:lnTo>
                    <a:pt x="2392680" y="364236"/>
                  </a:lnTo>
                  <a:lnTo>
                    <a:pt x="2356104" y="368809"/>
                  </a:lnTo>
                  <a:lnTo>
                    <a:pt x="2319528" y="373381"/>
                  </a:lnTo>
                  <a:lnTo>
                    <a:pt x="2279904" y="376429"/>
                  </a:lnTo>
                  <a:lnTo>
                    <a:pt x="2240280" y="381000"/>
                  </a:lnTo>
                  <a:lnTo>
                    <a:pt x="2199132" y="384048"/>
                  </a:lnTo>
                  <a:lnTo>
                    <a:pt x="2156460" y="387097"/>
                  </a:lnTo>
                  <a:lnTo>
                    <a:pt x="2113788" y="388621"/>
                  </a:lnTo>
                  <a:lnTo>
                    <a:pt x="2071116" y="391669"/>
                  </a:lnTo>
                  <a:lnTo>
                    <a:pt x="2026920" y="393193"/>
                  </a:lnTo>
                  <a:lnTo>
                    <a:pt x="1981200" y="393192"/>
                  </a:lnTo>
                  <a:lnTo>
                    <a:pt x="1935480" y="394716"/>
                  </a:lnTo>
                  <a:lnTo>
                    <a:pt x="1914144" y="394716"/>
                  </a:lnTo>
                  <a:lnTo>
                    <a:pt x="1889760" y="394716"/>
                  </a:lnTo>
                  <a:lnTo>
                    <a:pt x="0" y="394716"/>
                  </a:lnTo>
                  <a:lnTo>
                    <a:pt x="0" y="356616"/>
                  </a:lnTo>
                  <a:lnTo>
                    <a:pt x="1889760" y="356616"/>
                  </a:lnTo>
                  <a:lnTo>
                    <a:pt x="1914144" y="356616"/>
                  </a:lnTo>
                  <a:lnTo>
                    <a:pt x="1935480" y="356616"/>
                  </a:lnTo>
                  <a:lnTo>
                    <a:pt x="1979676" y="355092"/>
                  </a:lnTo>
                  <a:lnTo>
                    <a:pt x="2025396" y="355093"/>
                  </a:lnTo>
                  <a:lnTo>
                    <a:pt x="2069592" y="353569"/>
                  </a:lnTo>
                  <a:lnTo>
                    <a:pt x="2112264" y="350521"/>
                  </a:lnTo>
                  <a:lnTo>
                    <a:pt x="2154936" y="348997"/>
                  </a:lnTo>
                  <a:lnTo>
                    <a:pt x="2196084" y="345948"/>
                  </a:lnTo>
                  <a:lnTo>
                    <a:pt x="2237232" y="342900"/>
                  </a:lnTo>
                  <a:lnTo>
                    <a:pt x="2275332" y="338329"/>
                  </a:lnTo>
                  <a:lnTo>
                    <a:pt x="2314956" y="335281"/>
                  </a:lnTo>
                  <a:lnTo>
                    <a:pt x="2351532" y="330709"/>
                  </a:lnTo>
                  <a:lnTo>
                    <a:pt x="2388108" y="326136"/>
                  </a:lnTo>
                  <a:lnTo>
                    <a:pt x="2423160" y="321564"/>
                  </a:lnTo>
                  <a:lnTo>
                    <a:pt x="2456688" y="315469"/>
                  </a:lnTo>
                  <a:lnTo>
                    <a:pt x="2488692" y="310897"/>
                  </a:lnTo>
                  <a:lnTo>
                    <a:pt x="2519172" y="304800"/>
                  </a:lnTo>
                  <a:lnTo>
                    <a:pt x="2548128" y="298705"/>
                  </a:lnTo>
                  <a:lnTo>
                    <a:pt x="2577084" y="292609"/>
                  </a:lnTo>
                  <a:lnTo>
                    <a:pt x="2602992" y="284988"/>
                  </a:lnTo>
                  <a:lnTo>
                    <a:pt x="2627376" y="278893"/>
                  </a:lnTo>
                  <a:lnTo>
                    <a:pt x="2650236" y="271272"/>
                  </a:lnTo>
                  <a:lnTo>
                    <a:pt x="2671572" y="263653"/>
                  </a:lnTo>
                  <a:lnTo>
                    <a:pt x="2689860" y="257557"/>
                  </a:lnTo>
                  <a:lnTo>
                    <a:pt x="2706624" y="249936"/>
                  </a:lnTo>
                  <a:lnTo>
                    <a:pt x="2721864" y="242317"/>
                  </a:lnTo>
                  <a:lnTo>
                    <a:pt x="2734056" y="234697"/>
                  </a:lnTo>
                  <a:lnTo>
                    <a:pt x="2744724" y="227076"/>
                  </a:lnTo>
                  <a:lnTo>
                    <a:pt x="2753868" y="220981"/>
                  </a:lnTo>
                  <a:lnTo>
                    <a:pt x="2761488" y="211836"/>
                  </a:lnTo>
                  <a:lnTo>
                    <a:pt x="2759964" y="213360"/>
                  </a:lnTo>
                  <a:lnTo>
                    <a:pt x="2764536" y="207264"/>
                  </a:lnTo>
                  <a:lnTo>
                    <a:pt x="2764536" y="204217"/>
                  </a:lnTo>
                  <a:lnTo>
                    <a:pt x="2766060" y="202693"/>
                  </a:lnTo>
                  <a:lnTo>
                    <a:pt x="2766060" y="199645"/>
                  </a:lnTo>
                  <a:lnTo>
                    <a:pt x="2767584" y="198121"/>
                  </a:lnTo>
                  <a:lnTo>
                    <a:pt x="2767584" y="195072"/>
                  </a:lnTo>
                  <a:lnTo>
                    <a:pt x="2766060" y="193548"/>
                  </a:lnTo>
                  <a:lnTo>
                    <a:pt x="2766060" y="190500"/>
                  </a:lnTo>
                  <a:lnTo>
                    <a:pt x="2764536" y="188976"/>
                  </a:lnTo>
                  <a:lnTo>
                    <a:pt x="2761488" y="182881"/>
                  </a:lnTo>
                  <a:lnTo>
                    <a:pt x="2755392" y="175260"/>
                  </a:lnTo>
                  <a:lnTo>
                    <a:pt x="2746248" y="167640"/>
                  </a:lnTo>
                  <a:lnTo>
                    <a:pt x="2735580" y="160020"/>
                  </a:lnTo>
                  <a:lnTo>
                    <a:pt x="2723388" y="152400"/>
                  </a:lnTo>
                  <a:lnTo>
                    <a:pt x="2708148" y="144780"/>
                  </a:lnTo>
                  <a:lnTo>
                    <a:pt x="2689860" y="137160"/>
                  </a:lnTo>
                  <a:lnTo>
                    <a:pt x="2671572" y="129540"/>
                  </a:lnTo>
                  <a:lnTo>
                    <a:pt x="2650236" y="121920"/>
                  </a:lnTo>
                  <a:lnTo>
                    <a:pt x="2627376" y="115824"/>
                  </a:lnTo>
                  <a:lnTo>
                    <a:pt x="2602992" y="108204"/>
                  </a:lnTo>
                  <a:lnTo>
                    <a:pt x="2577084" y="102108"/>
                  </a:lnTo>
                  <a:lnTo>
                    <a:pt x="2549652" y="96012"/>
                  </a:lnTo>
                  <a:lnTo>
                    <a:pt x="2519172" y="89916"/>
                  </a:lnTo>
                  <a:lnTo>
                    <a:pt x="2488692" y="83820"/>
                  </a:lnTo>
                  <a:lnTo>
                    <a:pt x="2456688" y="77724"/>
                  </a:lnTo>
                  <a:lnTo>
                    <a:pt x="2423160" y="73152"/>
                  </a:lnTo>
                  <a:lnTo>
                    <a:pt x="2388108" y="67056"/>
                  </a:lnTo>
                  <a:lnTo>
                    <a:pt x="2351532" y="62484"/>
                  </a:lnTo>
                  <a:lnTo>
                    <a:pt x="2314956" y="59436"/>
                  </a:lnTo>
                  <a:lnTo>
                    <a:pt x="2276856" y="54864"/>
                  </a:lnTo>
                  <a:lnTo>
                    <a:pt x="2237232" y="51816"/>
                  </a:lnTo>
                  <a:lnTo>
                    <a:pt x="2196084" y="48768"/>
                  </a:lnTo>
                  <a:lnTo>
                    <a:pt x="2154936" y="45720"/>
                  </a:lnTo>
                  <a:lnTo>
                    <a:pt x="2112264" y="42672"/>
                  </a:lnTo>
                  <a:lnTo>
                    <a:pt x="2069592" y="41148"/>
                  </a:lnTo>
                  <a:lnTo>
                    <a:pt x="2025396" y="39624"/>
                  </a:lnTo>
                  <a:lnTo>
                    <a:pt x="1981200" y="38100"/>
                  </a:lnTo>
                  <a:lnTo>
                    <a:pt x="0" y="38100"/>
                  </a:lnTo>
                  <a:lnTo>
                    <a:pt x="0" y="0"/>
                  </a:lnTo>
                  <a:close/>
                </a:path>
              </a:pathLst>
            </a:custGeom>
            <a:solidFill>
              <a:srgbClr val="C00000"/>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0" name="Shape 79">
              <a:extLst>
                <a:ext uri="{FF2B5EF4-FFF2-40B4-BE49-F238E27FC236}">
                  <a16:creationId xmlns:a16="http://schemas.microsoft.com/office/drawing/2014/main" xmlns="" id="{281F97EC-1701-48BA-AEE4-9610CD242474}"/>
                </a:ext>
              </a:extLst>
            </p:cNvPr>
            <p:cNvSpPr>
              <a:spLocks/>
            </p:cNvSpPr>
            <p:nvPr/>
          </p:nvSpPr>
          <p:spPr bwMode="auto">
            <a:xfrm>
              <a:off x="59557" y="20711"/>
              <a:ext cx="2355" cy="1889"/>
            </a:xfrm>
            <a:custGeom>
              <a:avLst/>
              <a:gdLst>
                <a:gd name="T0" fmla="*/ 196262 w 235510"/>
                <a:gd name="T1" fmla="*/ 0 h 188976"/>
                <a:gd name="T2" fmla="*/ 235510 w 235510"/>
                <a:gd name="T3" fmla="*/ 0 h 188976"/>
                <a:gd name="T4" fmla="*/ 16764 w 235510"/>
                <a:gd name="T5" fmla="*/ 188976 h 188976"/>
                <a:gd name="T6" fmla="*/ 0 w 235510"/>
                <a:gd name="T7" fmla="*/ 169164 h 188976"/>
                <a:gd name="T8" fmla="*/ 196262 w 235510"/>
                <a:gd name="T9" fmla="*/ 0 h 188976"/>
                <a:gd name="T10" fmla="*/ 0 w 235510"/>
                <a:gd name="T11" fmla="*/ 0 h 188976"/>
                <a:gd name="T12" fmla="*/ 235510 w 235510"/>
                <a:gd name="T13" fmla="*/ 188976 h 188976"/>
              </a:gdLst>
              <a:ahLst/>
              <a:cxnLst>
                <a:cxn ang="0">
                  <a:pos x="T0" y="T1"/>
                </a:cxn>
                <a:cxn ang="0">
                  <a:pos x="T2" y="T3"/>
                </a:cxn>
                <a:cxn ang="0">
                  <a:pos x="T4" y="T5"/>
                </a:cxn>
                <a:cxn ang="0">
                  <a:pos x="T6" y="T7"/>
                </a:cxn>
                <a:cxn ang="0">
                  <a:pos x="T8" y="T9"/>
                </a:cxn>
              </a:cxnLst>
              <a:rect l="T10" t="T11" r="T12" b="T13"/>
              <a:pathLst>
                <a:path w="235510" h="188976">
                  <a:moveTo>
                    <a:pt x="196262" y="0"/>
                  </a:moveTo>
                  <a:lnTo>
                    <a:pt x="235510" y="0"/>
                  </a:lnTo>
                  <a:lnTo>
                    <a:pt x="16764" y="188976"/>
                  </a:lnTo>
                  <a:lnTo>
                    <a:pt x="0" y="169164"/>
                  </a:lnTo>
                  <a:lnTo>
                    <a:pt x="196262" y="0"/>
                  </a:lnTo>
                  <a:close/>
                </a:path>
              </a:pathLst>
            </a:custGeom>
            <a:solidFill>
              <a:srgbClr val="385D8A"/>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3" name="Shape 83">
              <a:extLst>
                <a:ext uri="{FF2B5EF4-FFF2-40B4-BE49-F238E27FC236}">
                  <a16:creationId xmlns:a16="http://schemas.microsoft.com/office/drawing/2014/main" xmlns="" id="{8FAB2BE4-9E88-41F9-9348-9A3A9B69F112}"/>
                </a:ext>
              </a:extLst>
            </p:cNvPr>
            <p:cNvSpPr>
              <a:spLocks/>
            </p:cNvSpPr>
            <p:nvPr/>
          </p:nvSpPr>
          <p:spPr bwMode="auto">
            <a:xfrm>
              <a:off x="29550" y="41635"/>
              <a:ext cx="5837" cy="7285"/>
            </a:xfrm>
            <a:custGeom>
              <a:avLst/>
              <a:gdLst>
                <a:gd name="T0" fmla="*/ 19812 w 583692"/>
                <a:gd name="T1" fmla="*/ 0 h 728472"/>
                <a:gd name="T2" fmla="*/ 583692 w 583692"/>
                <a:gd name="T3" fmla="*/ 713232 h 728472"/>
                <a:gd name="T4" fmla="*/ 563880 w 583692"/>
                <a:gd name="T5" fmla="*/ 728472 h 728472"/>
                <a:gd name="T6" fmla="*/ 0 w 583692"/>
                <a:gd name="T7" fmla="*/ 16764 h 728472"/>
                <a:gd name="T8" fmla="*/ 19812 w 583692"/>
                <a:gd name="T9" fmla="*/ 0 h 728472"/>
                <a:gd name="T10" fmla="*/ 0 w 583692"/>
                <a:gd name="T11" fmla="*/ 0 h 728472"/>
                <a:gd name="T12" fmla="*/ 583692 w 583692"/>
                <a:gd name="T13" fmla="*/ 728472 h 728472"/>
              </a:gdLst>
              <a:ahLst/>
              <a:cxnLst>
                <a:cxn ang="0">
                  <a:pos x="T0" y="T1"/>
                </a:cxn>
                <a:cxn ang="0">
                  <a:pos x="T2" y="T3"/>
                </a:cxn>
                <a:cxn ang="0">
                  <a:pos x="T4" y="T5"/>
                </a:cxn>
                <a:cxn ang="0">
                  <a:pos x="T6" y="T7"/>
                </a:cxn>
                <a:cxn ang="0">
                  <a:pos x="T8" y="T9"/>
                </a:cxn>
              </a:cxnLst>
              <a:rect l="T10" t="T11" r="T12" b="T13"/>
              <a:pathLst>
                <a:path w="583692" h="728472">
                  <a:moveTo>
                    <a:pt x="19812" y="0"/>
                  </a:moveTo>
                  <a:lnTo>
                    <a:pt x="583692" y="713232"/>
                  </a:lnTo>
                  <a:lnTo>
                    <a:pt x="563880" y="728472"/>
                  </a:lnTo>
                  <a:lnTo>
                    <a:pt x="0" y="16764"/>
                  </a:lnTo>
                  <a:lnTo>
                    <a:pt x="19812" y="0"/>
                  </a:lnTo>
                  <a:close/>
                </a:path>
              </a:pathLst>
            </a:custGeom>
            <a:solidFill>
              <a:srgbClr val="385D8A"/>
            </a:solidFill>
            <a:ln>
              <a:noFill/>
            </a:ln>
            <a:extLst>
              <a:ext uri="{91240B29-F687-4F45-9708-019B960494DF}">
                <a14:hiddenLine xmlns:a14="http://schemas.microsoft.com/office/drawing/2010/main" w="0">
                  <a:solidFill>
                    <a:srgbClr val="000000"/>
                  </a:solidFill>
                  <a:miter lim="127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24" name="Rectangle 84">
              <a:extLst>
                <a:ext uri="{FF2B5EF4-FFF2-40B4-BE49-F238E27FC236}">
                  <a16:creationId xmlns:a16="http://schemas.microsoft.com/office/drawing/2014/main" xmlns="" id="{0D300CCE-EEDD-43E5-AC5B-7D35561F3D90}"/>
                </a:ext>
              </a:extLst>
            </p:cNvPr>
            <p:cNvSpPr>
              <a:spLocks noChangeArrowheads="1"/>
            </p:cNvSpPr>
            <p:nvPr/>
          </p:nvSpPr>
          <p:spPr bwMode="auto">
            <a:xfrm>
              <a:off x="6934" y="33581"/>
              <a:ext cx="29050" cy="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800" b="0" i="0" u="none" strike="noStrike" cap="none" normalizeH="0" baseline="0" dirty="0" err="1">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Утраченный</a:t>
              </a:r>
              <a:r>
                <a:rPr kumimoji="0" lang="en-US" altLang="ru-RU" sz="18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r>
                <a:rPr kumimoji="0" lang="en-US" altLang="ru-RU" sz="1800" b="0" i="0" u="none" strike="noStrike" cap="none" normalizeH="0" baseline="0" dirty="0" err="1">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пункт</a:t>
              </a:r>
              <a:r>
                <a:rPr kumimoji="0" lang="en-US" altLang="ru-RU" sz="18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ГГС </a:t>
              </a:r>
              <a:endParaRPr kumimoji="0" lang="en-US" altLang="ru-RU" sz="1800" b="0" i="0" u="none" strike="noStrike" cap="none" normalizeH="0" baseline="0" dirty="0">
                <a:ln>
                  <a:noFill/>
                </a:ln>
                <a:solidFill>
                  <a:schemeClr val="tx1"/>
                </a:solidFill>
                <a:effectLst/>
                <a:latin typeface="Arial" panose="020B0604020202020204" pitchFamily="34" charset="0"/>
              </a:endParaRPr>
            </a:p>
          </p:txBody>
        </p:sp>
        <p:sp>
          <p:nvSpPr>
            <p:cNvPr id="25" name="Rectangle 85">
              <a:extLst>
                <a:ext uri="{FF2B5EF4-FFF2-40B4-BE49-F238E27FC236}">
                  <a16:creationId xmlns:a16="http://schemas.microsoft.com/office/drawing/2014/main" xmlns="" id="{D9A16EAD-E04B-40CF-8894-45128508DD64}"/>
                </a:ext>
              </a:extLst>
            </p:cNvPr>
            <p:cNvSpPr>
              <a:spLocks noChangeArrowheads="1"/>
            </p:cNvSpPr>
            <p:nvPr/>
          </p:nvSpPr>
          <p:spPr bwMode="auto">
            <a:xfrm>
              <a:off x="10393" y="36324"/>
              <a:ext cx="19823" cy="3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800" b="0" i="0" u="none" strike="noStrike" cap="none" normalizeH="0" baseline="0" dirty="0" err="1">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не</a:t>
              </a:r>
              <a:r>
                <a:rPr kumimoji="0" lang="en-US" altLang="ru-RU" sz="18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r>
                <a:rPr kumimoji="0" lang="en-US" altLang="ru-RU" sz="1800" b="0" i="0" u="none" strike="noStrike" cap="none" normalizeH="0" baseline="0" dirty="0" err="1">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может</a:t>
              </a:r>
              <a:r>
                <a:rPr kumimoji="0" lang="en-US" altLang="ru-RU" sz="18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r>
                <a:rPr kumimoji="0" lang="en-US" altLang="ru-RU" sz="1800" b="0" i="0" u="none" strike="noStrike" cap="none" normalizeH="0" baseline="0" dirty="0" err="1">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быть</a:t>
              </a:r>
              <a:r>
                <a:rPr kumimoji="0" lang="en-US" altLang="ru-RU" sz="18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en-US" altLang="ru-RU" sz="1800" b="0" i="0" u="none" strike="noStrike" cap="none" normalizeH="0" baseline="0" dirty="0">
                <a:ln>
                  <a:noFill/>
                </a:ln>
                <a:solidFill>
                  <a:schemeClr val="tx1"/>
                </a:solidFill>
                <a:effectLst/>
                <a:latin typeface="Arial" panose="020B0604020202020204" pitchFamily="34" charset="0"/>
              </a:endParaRPr>
            </a:p>
          </p:txBody>
        </p:sp>
        <p:sp>
          <p:nvSpPr>
            <p:cNvPr id="26" name="Rectangle 86">
              <a:extLst>
                <a:ext uri="{FF2B5EF4-FFF2-40B4-BE49-F238E27FC236}">
                  <a16:creationId xmlns:a16="http://schemas.microsoft.com/office/drawing/2014/main" xmlns="" id="{43A6BD39-0983-467D-812D-434922E65D5F}"/>
                </a:ext>
              </a:extLst>
            </p:cNvPr>
            <p:cNvSpPr>
              <a:spLocks noChangeArrowheads="1"/>
            </p:cNvSpPr>
            <p:nvPr/>
          </p:nvSpPr>
          <p:spPr bwMode="auto">
            <a:xfrm>
              <a:off x="9326" y="39067"/>
              <a:ext cx="22664" cy="3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800" b="0" i="0" u="none" strike="noStrike" cap="none" normalizeH="0" baseline="0" dirty="0" err="1">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использован</a:t>
              </a:r>
              <a:r>
                <a:rPr kumimoji="0" lang="en-US" altLang="ru-RU" sz="18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r>
                <a:rPr kumimoji="0" lang="en-US" altLang="ru-RU" sz="1800" b="0" i="0" u="none" strike="noStrike" cap="none" normalizeH="0" baseline="0" dirty="0" err="1">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при</a:t>
              </a:r>
              <a:r>
                <a:rPr kumimoji="0" lang="en-US" altLang="ru-RU" sz="18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en-US" altLang="ru-RU" sz="1800" b="0" i="0" u="none" strike="noStrike" cap="none" normalizeH="0" baseline="0" dirty="0">
                <a:ln>
                  <a:noFill/>
                </a:ln>
                <a:solidFill>
                  <a:schemeClr val="tx1"/>
                </a:solidFill>
                <a:effectLst/>
                <a:latin typeface="Arial" panose="020B0604020202020204" pitchFamily="34" charset="0"/>
              </a:endParaRPr>
            </a:p>
          </p:txBody>
        </p:sp>
        <p:sp>
          <p:nvSpPr>
            <p:cNvPr id="27" name="Rectangle 87">
              <a:extLst>
                <a:ext uri="{FF2B5EF4-FFF2-40B4-BE49-F238E27FC236}">
                  <a16:creationId xmlns:a16="http://schemas.microsoft.com/office/drawing/2014/main" xmlns="" id="{BF2F69A6-6EC1-4AE2-B269-7F5797EDC11D}"/>
                </a:ext>
              </a:extLst>
            </p:cNvPr>
            <p:cNvSpPr>
              <a:spLocks noChangeArrowheads="1"/>
            </p:cNvSpPr>
            <p:nvPr/>
          </p:nvSpPr>
          <p:spPr bwMode="auto">
            <a:xfrm>
              <a:off x="8443" y="41810"/>
              <a:ext cx="24348" cy="3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ru-RU" sz="1800" b="0" i="0" u="none" strike="noStrike" cap="none" normalizeH="0" baseline="0" dirty="0" err="1">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выполнении</a:t>
              </a:r>
              <a:r>
                <a:rPr kumimoji="0" lang="en-US" altLang="ru-RU" sz="1800" b="0" i="0"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r>
                <a:rPr kumimoji="0" lang="en-US" altLang="ru-RU" sz="1800" b="0" i="0" u="none" strike="noStrike" cap="none" normalizeH="0" baseline="0" dirty="0" err="1">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работ</a:t>
              </a:r>
              <a:endParaRPr kumimoji="0" lang="en-US" altLang="ru-RU" sz="1800" b="0" i="0" u="none" strike="noStrike" cap="none" normalizeH="0" baseline="0" dirty="0">
                <a:ln>
                  <a:noFill/>
                </a:ln>
                <a:solidFill>
                  <a:schemeClr val="tx1"/>
                </a:solidFill>
                <a:effectLst/>
                <a:latin typeface="Arial" panose="020B0604020202020204" pitchFamily="34" charset="0"/>
              </a:endParaRPr>
            </a:p>
          </p:txBody>
        </p:sp>
      </p:grpSp>
      <p:sp>
        <p:nvSpPr>
          <p:cNvPr id="28" name="Прямоугольник 27">
            <a:extLst>
              <a:ext uri="{FF2B5EF4-FFF2-40B4-BE49-F238E27FC236}">
                <a16:creationId xmlns:a16="http://schemas.microsoft.com/office/drawing/2014/main" xmlns="" id="{7CC8C5A6-78B6-4AAD-AE6F-BF7D7776AD1D}"/>
              </a:ext>
            </a:extLst>
          </p:cNvPr>
          <p:cNvSpPr/>
          <p:nvPr/>
        </p:nvSpPr>
        <p:spPr>
          <a:xfrm>
            <a:off x="2086240" y="4486241"/>
            <a:ext cx="2685867" cy="1361360"/>
          </a:xfrm>
          <a:prstGeom prst="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Скругленный прямоугольник 3"/>
          <p:cNvSpPr/>
          <p:nvPr/>
        </p:nvSpPr>
        <p:spPr>
          <a:xfrm>
            <a:off x="7492696" y="1436915"/>
            <a:ext cx="3262219" cy="2274088"/>
          </a:xfrm>
          <a:prstGeom prst="round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7700545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651E4B3B-93CF-497F-8CB5-84F225E89699}"/>
              </a:ext>
            </a:extLst>
          </p:cNvPr>
          <p:cNvSpPr>
            <a:spLocks noGrp="1"/>
          </p:cNvSpPr>
          <p:nvPr>
            <p:ph type="sldNum" sz="quarter" idx="10"/>
          </p:nvPr>
        </p:nvSpPr>
        <p:spPr/>
        <p:txBody>
          <a:bodyPr/>
          <a:lstStyle/>
          <a:p>
            <a:fld id="{35ACA335-37F7-42C7-872A-92C3D7072F89}" type="slidenum">
              <a:rPr lang="ru-RU" smtClean="0"/>
              <a:pPr/>
              <a:t>28</a:t>
            </a:fld>
            <a:endParaRPr lang="ru-RU" dirty="0"/>
          </a:p>
        </p:txBody>
      </p:sp>
      <p:sp>
        <p:nvSpPr>
          <p:cNvPr id="3" name="Заголовок 2">
            <a:extLst>
              <a:ext uri="{FF2B5EF4-FFF2-40B4-BE49-F238E27FC236}">
                <a16:creationId xmlns:a16="http://schemas.microsoft.com/office/drawing/2014/main" xmlns="" id="{FB6AB048-5769-47CE-B751-1C2074763FE7}"/>
              </a:ext>
            </a:extLst>
          </p:cNvPr>
          <p:cNvSpPr>
            <a:spLocks noGrp="1"/>
          </p:cNvSpPr>
          <p:nvPr>
            <p:ph type="title"/>
          </p:nvPr>
        </p:nvSpPr>
        <p:spPr/>
        <p:txBody>
          <a:bodyPr/>
          <a:lstStyle/>
          <a:p>
            <a:r>
              <a:rPr lang="ru-RU" dirty="0"/>
              <a:t>Обследование пунктов ГГС</a:t>
            </a:r>
          </a:p>
        </p:txBody>
      </p:sp>
      <p:sp>
        <p:nvSpPr>
          <p:cNvPr id="4" name="Текст 3">
            <a:extLst>
              <a:ext uri="{FF2B5EF4-FFF2-40B4-BE49-F238E27FC236}">
                <a16:creationId xmlns:a16="http://schemas.microsoft.com/office/drawing/2014/main" xmlns="" id="{12EF45A0-FBA3-4466-939B-21342E0DCF98}"/>
              </a:ext>
            </a:extLst>
          </p:cNvPr>
          <p:cNvSpPr>
            <a:spLocks noGrp="1"/>
          </p:cNvSpPr>
          <p:nvPr>
            <p:ph type="body" sz="quarter" idx="11"/>
          </p:nvPr>
        </p:nvSpPr>
        <p:spPr>
          <a:xfrm>
            <a:off x="587378" y="1059543"/>
            <a:ext cx="5375273" cy="5274587"/>
          </a:xfrm>
        </p:spPr>
        <p:txBody>
          <a:bodyPr>
            <a:normAutofit fontScale="62500" lnSpcReduction="20000"/>
          </a:bodyPr>
          <a:lstStyle/>
          <a:p>
            <a:pPr algn="just"/>
            <a:r>
              <a:rPr lang="ru-RU" dirty="0"/>
              <a:t>Материалы обследования пунктов ГГС необходимо направлять в Управление на электронную почту:    </a:t>
            </a:r>
          </a:p>
          <a:p>
            <a:pPr algn="ctr"/>
            <a:r>
              <a:rPr lang="ru-RU" sz="4000" u="sng" dirty="0">
                <a:hlinkClick r:id="rId2"/>
              </a:rPr>
              <a:t>geo@r47.rosreestr.ru</a:t>
            </a:r>
            <a:r>
              <a:rPr lang="ru-RU" sz="4000" u="sng" dirty="0"/>
              <a:t> </a:t>
            </a:r>
          </a:p>
          <a:p>
            <a:r>
              <a:rPr lang="ru-RU" sz="2900" dirty="0"/>
              <a:t>          </a:t>
            </a:r>
          </a:p>
          <a:p>
            <a:pPr algn="just"/>
            <a:r>
              <a:rPr lang="ru-RU" sz="2900" dirty="0"/>
              <a:t>По всем возникающим вопросам в части мониторинга пунктов ГГС необходимо обращаться в Отдел землеустройства и мониторинга земель, кадастровой оценки недвижимости, геодезии и картографии Управления Росреестра по Ленинградской области:</a:t>
            </a:r>
          </a:p>
          <a:p>
            <a:pPr algn="just"/>
            <a:r>
              <a:rPr lang="ru-RU" sz="2900" dirty="0"/>
              <a:t>- Кольцов Алексей Николаевич – заместитель начальника отдела землеустройства и мониторинга земель, кадастровой оценки недвижимости, геодезии и картографии Управления (тел. (812) 499-00-21); </a:t>
            </a:r>
          </a:p>
          <a:p>
            <a:pPr algn="just"/>
            <a:r>
              <a:rPr lang="ru-RU" sz="2900" dirty="0"/>
              <a:t>- Володина Юлия Александровна – специалист-эксперт отдела землеустройства и мониторинга земель, кадастровой оценки недвижимости, геодезии и картографии Управления (тел. (812) 499-00-21).</a:t>
            </a:r>
          </a:p>
          <a:p>
            <a:endParaRPr lang="ru-RU" dirty="0"/>
          </a:p>
        </p:txBody>
      </p:sp>
      <p:pic>
        <p:nvPicPr>
          <p:cNvPr id="6" name="Рисунок 5">
            <a:extLst>
              <a:ext uri="{FF2B5EF4-FFF2-40B4-BE49-F238E27FC236}">
                <a16:creationId xmlns:a16="http://schemas.microsoft.com/office/drawing/2014/main" xmlns="" id="{75ED6644-4BDB-42AF-B319-3B3BE7F2A0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9350" y="1226127"/>
            <a:ext cx="5744095" cy="4405745"/>
          </a:xfrm>
          <a:prstGeom prst="rect">
            <a:avLst/>
          </a:prstGeom>
        </p:spPr>
      </p:pic>
    </p:spTree>
    <p:extLst>
      <p:ext uri="{BB962C8B-B14F-4D97-AF65-F5344CB8AC3E}">
        <p14:creationId xmlns:p14="http://schemas.microsoft.com/office/powerpoint/2010/main" val="305363139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29</a:t>
            </a:fld>
            <a:endParaRPr lang="ru-RU" dirty="0"/>
          </a:p>
        </p:txBody>
      </p:sp>
      <p:sp>
        <p:nvSpPr>
          <p:cNvPr id="3" name="Заголовок 2"/>
          <p:cNvSpPr>
            <a:spLocks noGrp="1"/>
          </p:cNvSpPr>
          <p:nvPr>
            <p:ph type="title"/>
          </p:nvPr>
        </p:nvSpPr>
        <p:spPr/>
        <p:txBody>
          <a:bodyPr/>
          <a:lstStyle/>
          <a:p>
            <a:r>
              <a:rPr lang="ru-RU" dirty="0"/>
              <a:t>Сведения об использованной аппаратуре </a:t>
            </a:r>
          </a:p>
        </p:txBody>
      </p:sp>
      <p:pic>
        <p:nvPicPr>
          <p:cNvPr id="20" name="Рисунок 19">
            <a:extLst>
              <a:ext uri="{FF2B5EF4-FFF2-40B4-BE49-F238E27FC236}">
                <a16:creationId xmlns:a16="http://schemas.microsoft.com/office/drawing/2014/main" xmlns="" id="{A7294C75-B249-443E-9610-3F42238590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7276" y="1005064"/>
            <a:ext cx="10808175" cy="2423936"/>
          </a:xfrm>
          <a:prstGeom prst="rect">
            <a:avLst/>
          </a:prstGeom>
        </p:spPr>
      </p:pic>
      <p:sp>
        <p:nvSpPr>
          <p:cNvPr id="22" name="TextBox 21">
            <a:extLst>
              <a:ext uri="{FF2B5EF4-FFF2-40B4-BE49-F238E27FC236}">
                <a16:creationId xmlns:a16="http://schemas.microsoft.com/office/drawing/2014/main" xmlns="" id="{DE4E081E-BB4C-45DB-BB71-B66CE42434DA}"/>
              </a:ext>
            </a:extLst>
          </p:cNvPr>
          <p:cNvSpPr txBox="1"/>
          <p:nvPr/>
        </p:nvSpPr>
        <p:spPr>
          <a:xfrm>
            <a:off x="962025" y="3595861"/>
            <a:ext cx="10808175" cy="2862322"/>
          </a:xfrm>
          <a:prstGeom prst="rect">
            <a:avLst/>
          </a:prstGeom>
          <a:noFill/>
        </p:spPr>
        <p:txBody>
          <a:bodyPr wrap="square">
            <a:spAutoFit/>
          </a:bodyPr>
          <a:lstStyle/>
          <a:p>
            <a:r>
              <a:rPr lang="ru-RU" sz="2000" dirty="0">
                <a:solidFill>
                  <a:srgbClr val="002060"/>
                </a:solidFill>
              </a:rPr>
              <a:t>В соответствующих графах </a:t>
            </a:r>
            <a:r>
              <a:rPr lang="ru-RU" sz="2000" dirty="0">
                <a:solidFill>
                  <a:srgbClr val="002060"/>
                </a:solidFill>
                <a:hlinkClick r:id="rId3">
                  <a:extLst>
                    <a:ext uri="{A12FA001-AC4F-418D-AE19-62706E023703}">
                      <ahyp:hlinkClr xmlns:ahyp="http://schemas.microsoft.com/office/drawing/2018/hyperlinkcolor" xmlns="" val="tx"/>
                    </a:ext>
                  </a:extLst>
                </a:hlinkClick>
              </a:rPr>
              <a:t>реквизита "2"</a:t>
            </a:r>
            <a:r>
              <a:rPr lang="ru-RU" sz="2000" dirty="0">
                <a:solidFill>
                  <a:srgbClr val="002060"/>
                </a:solidFill>
              </a:rPr>
              <a:t> раздела "Сведения о пунктах геодезической сети и средствах измерений" указываются следующие сведения о средствах измерений:</a:t>
            </a:r>
          </a:p>
          <a:p>
            <a:pPr marL="342900" indent="-342900">
              <a:buFont typeface="Wingdings" panose="05000000000000000000" pitchFamily="2" charset="2"/>
              <a:buChar char="Ø"/>
            </a:pPr>
            <a:r>
              <a:rPr lang="ru-RU" sz="2000" dirty="0">
                <a:solidFill>
                  <a:srgbClr val="002060"/>
                </a:solidFill>
              </a:rPr>
              <a:t>1) наименование и обозначение типа средства измерений - прибора (инструмента, аппаратуры); </a:t>
            </a:r>
          </a:p>
          <a:p>
            <a:pPr marL="342900" indent="-342900">
              <a:buFont typeface="Wingdings" panose="05000000000000000000" pitchFamily="2" charset="2"/>
              <a:buChar char="Ø"/>
            </a:pPr>
            <a:r>
              <a:rPr lang="ru-RU" sz="2000" dirty="0">
                <a:solidFill>
                  <a:srgbClr val="002060"/>
                </a:solidFill>
              </a:rPr>
              <a:t>2) заводской или серийный номер прибора (средства измерений) или слова "заводской (серийный) номер прибора отсутствует" в случае, если сведения о заводском или серийном номере прибора отсутствуют; </a:t>
            </a:r>
          </a:p>
          <a:p>
            <a:pPr marL="342900" indent="-342900">
              <a:buFont typeface="Wingdings" panose="05000000000000000000" pitchFamily="2" charset="2"/>
              <a:buChar char="Ø"/>
            </a:pPr>
            <a:r>
              <a:rPr lang="ru-RU" sz="2000" dirty="0">
                <a:solidFill>
                  <a:srgbClr val="002060"/>
                </a:solidFill>
              </a:rPr>
              <a:t>3) реквизиты свидетельства о поверке прибора (инструмента, аппаратуры) (при наличии) и (или) срок действия поверки.</a:t>
            </a:r>
          </a:p>
        </p:txBody>
      </p:sp>
    </p:spTree>
    <p:extLst>
      <p:ext uri="{BB962C8B-B14F-4D97-AF65-F5344CB8AC3E}">
        <p14:creationId xmlns:p14="http://schemas.microsoft.com/office/powerpoint/2010/main" val="2594873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3</a:t>
            </a:fld>
            <a:endParaRPr lang="ru-RU" dirty="0"/>
          </a:p>
        </p:txBody>
      </p:sp>
      <p:sp>
        <p:nvSpPr>
          <p:cNvPr id="3" name="Заголовок 2"/>
          <p:cNvSpPr>
            <a:spLocks noGrp="1"/>
          </p:cNvSpPr>
          <p:nvPr>
            <p:ph type="title"/>
          </p:nvPr>
        </p:nvSpPr>
        <p:spPr/>
        <p:txBody>
          <a:bodyPr/>
          <a:lstStyle/>
          <a:p>
            <a:r>
              <a:rPr lang="ru-RU" dirty="0" smtClean="0"/>
              <a:t>Информация о геодезическом обеспечении на территорию Ленинградской области</a:t>
            </a:r>
            <a:endParaRPr lang="ru-RU" dirty="0"/>
          </a:p>
        </p:txBody>
      </p:sp>
      <p:sp>
        <p:nvSpPr>
          <p:cNvPr id="4" name="Текст 3"/>
          <p:cNvSpPr>
            <a:spLocks noGrp="1"/>
          </p:cNvSpPr>
          <p:nvPr>
            <p:ph type="body" sz="quarter" idx="11"/>
          </p:nvPr>
        </p:nvSpPr>
        <p:spPr>
          <a:xfrm>
            <a:off x="7820167" y="5308978"/>
            <a:ext cx="4012442" cy="682387"/>
          </a:xfrm>
        </p:spPr>
        <p:txBody>
          <a:bodyPr>
            <a:noAutofit/>
          </a:bodyPr>
          <a:lstStyle/>
          <a:p>
            <a:pPr>
              <a:lnSpc>
                <a:spcPct val="170000"/>
              </a:lnSpc>
            </a:pPr>
            <a:r>
              <a:rPr lang="ru-RU" sz="1500" b="1" dirty="0" smtClean="0"/>
              <a:t>Общее количество геодезических пунктов составляет: </a:t>
            </a:r>
            <a:r>
              <a:rPr lang="ru-RU" sz="1500" b="1" dirty="0" smtClean="0">
                <a:solidFill>
                  <a:srgbClr val="FF0000"/>
                </a:solidFill>
              </a:rPr>
              <a:t>3934</a:t>
            </a:r>
            <a:endParaRPr lang="ru-RU" sz="1500" b="1" dirty="0">
              <a:solidFill>
                <a:srgbClr val="FF0000"/>
              </a:solidFill>
            </a:endParaRPr>
          </a:p>
        </p:txBody>
      </p:sp>
      <p:graphicFrame>
        <p:nvGraphicFramePr>
          <p:cNvPr id="5" name="Диаграмма 4"/>
          <p:cNvGraphicFramePr/>
          <p:nvPr>
            <p:extLst>
              <p:ext uri="{D42A27DB-BD31-4B8C-83A1-F6EECF244321}">
                <p14:modId xmlns:p14="http://schemas.microsoft.com/office/powerpoint/2010/main" val="3659614093"/>
              </p:ext>
            </p:extLst>
          </p:nvPr>
        </p:nvGraphicFramePr>
        <p:xfrm>
          <a:off x="605431" y="998940"/>
          <a:ext cx="10896600" cy="485140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157012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4D2B70EB-AD0F-447A-A824-10CDFE9B0C1B}"/>
              </a:ext>
            </a:extLst>
          </p:cNvPr>
          <p:cNvSpPr>
            <a:spLocks noGrp="1"/>
          </p:cNvSpPr>
          <p:nvPr>
            <p:ph type="sldNum" sz="quarter" idx="10"/>
          </p:nvPr>
        </p:nvSpPr>
        <p:spPr/>
        <p:txBody>
          <a:bodyPr/>
          <a:lstStyle/>
          <a:p>
            <a:fld id="{35ACA335-37F7-42C7-872A-92C3D7072F89}" type="slidenum">
              <a:rPr lang="ru-RU" smtClean="0"/>
              <a:pPr/>
              <a:t>30</a:t>
            </a:fld>
            <a:endParaRPr lang="ru-RU" dirty="0"/>
          </a:p>
        </p:txBody>
      </p:sp>
      <p:sp>
        <p:nvSpPr>
          <p:cNvPr id="3" name="Заголовок 2">
            <a:extLst>
              <a:ext uri="{FF2B5EF4-FFF2-40B4-BE49-F238E27FC236}">
                <a16:creationId xmlns:a16="http://schemas.microsoft.com/office/drawing/2014/main" xmlns="" id="{52A16468-1FF5-4A2C-9438-FA299AFCB4D9}"/>
              </a:ext>
            </a:extLst>
          </p:cNvPr>
          <p:cNvSpPr>
            <a:spLocks noGrp="1"/>
          </p:cNvSpPr>
          <p:nvPr>
            <p:ph type="title"/>
          </p:nvPr>
        </p:nvSpPr>
        <p:spPr/>
        <p:txBody>
          <a:bodyPr>
            <a:normAutofit/>
          </a:bodyPr>
          <a:lstStyle/>
          <a:p>
            <a:r>
              <a:rPr lang="ru-RU" sz="2400" dirty="0"/>
              <a:t>Геодезическое обоснование кадастровых работ при определении координат непосредственно от пунктов ГГС</a:t>
            </a:r>
            <a:endParaRPr lang="ru-RU" dirty="0"/>
          </a:p>
        </p:txBody>
      </p:sp>
      <p:sp>
        <p:nvSpPr>
          <p:cNvPr id="4" name="Текст 3">
            <a:extLst>
              <a:ext uri="{FF2B5EF4-FFF2-40B4-BE49-F238E27FC236}">
                <a16:creationId xmlns:a16="http://schemas.microsoft.com/office/drawing/2014/main" xmlns="" id="{8B4B367F-F21C-42B1-A09B-98545D088080}"/>
              </a:ext>
            </a:extLst>
          </p:cNvPr>
          <p:cNvSpPr>
            <a:spLocks noGrp="1"/>
          </p:cNvSpPr>
          <p:nvPr>
            <p:ph type="body" sz="quarter" idx="11"/>
          </p:nvPr>
        </p:nvSpPr>
        <p:spPr>
          <a:xfrm>
            <a:off x="8493352" y="1120722"/>
            <a:ext cx="2581049" cy="365125"/>
          </a:xfrm>
        </p:spPr>
        <p:txBody>
          <a:bodyPr>
            <a:normAutofit/>
          </a:bodyPr>
          <a:lstStyle/>
          <a:p>
            <a:r>
              <a:rPr lang="ru-RU" sz="1800" dirty="0"/>
              <a:t>Пример заполнения</a:t>
            </a:r>
          </a:p>
        </p:txBody>
      </p:sp>
      <p:graphicFrame>
        <p:nvGraphicFramePr>
          <p:cNvPr id="6" name="Таблица 5">
            <a:extLst>
              <a:ext uri="{FF2B5EF4-FFF2-40B4-BE49-F238E27FC236}">
                <a16:creationId xmlns:a16="http://schemas.microsoft.com/office/drawing/2014/main" xmlns="" id="{2DE2A721-50C4-4F2D-833B-E420EFD387F2}"/>
              </a:ext>
            </a:extLst>
          </p:cNvPr>
          <p:cNvGraphicFramePr>
            <a:graphicFrameLocks noGrp="1"/>
          </p:cNvGraphicFramePr>
          <p:nvPr>
            <p:extLst>
              <p:ext uri="{D42A27DB-BD31-4B8C-83A1-F6EECF244321}">
                <p14:modId xmlns:p14="http://schemas.microsoft.com/office/powerpoint/2010/main" val="3958649105"/>
              </p:ext>
            </p:extLst>
          </p:nvPr>
        </p:nvGraphicFramePr>
        <p:xfrm>
          <a:off x="962025" y="1737348"/>
          <a:ext cx="10288668" cy="3869543"/>
        </p:xfrm>
        <a:graphic>
          <a:graphicData uri="http://schemas.openxmlformats.org/drawingml/2006/table">
            <a:tbl>
              <a:tblPr firstRow="1" firstCol="1" bandRow="1">
                <a:tableStyleId>{5C22544A-7EE6-4342-B048-85BDC9FD1C3A}</a:tableStyleId>
              </a:tblPr>
              <a:tblGrid>
                <a:gridCol w="642211">
                  <a:extLst>
                    <a:ext uri="{9D8B030D-6E8A-4147-A177-3AD203B41FA5}">
                      <a16:colId xmlns:a16="http://schemas.microsoft.com/office/drawing/2014/main" xmlns="" val="20000"/>
                    </a:ext>
                  </a:extLst>
                </a:gridCol>
                <a:gridCol w="2238537">
                  <a:extLst>
                    <a:ext uri="{9D8B030D-6E8A-4147-A177-3AD203B41FA5}">
                      <a16:colId xmlns:a16="http://schemas.microsoft.com/office/drawing/2014/main" xmlns="" val="20001"/>
                    </a:ext>
                  </a:extLst>
                </a:gridCol>
                <a:gridCol w="1792843">
                  <a:extLst>
                    <a:ext uri="{9D8B030D-6E8A-4147-A177-3AD203B41FA5}">
                      <a16:colId xmlns:a16="http://schemas.microsoft.com/office/drawing/2014/main" xmlns="" val="20003"/>
                    </a:ext>
                  </a:extLst>
                </a:gridCol>
                <a:gridCol w="5615077">
                  <a:extLst>
                    <a:ext uri="{9D8B030D-6E8A-4147-A177-3AD203B41FA5}">
                      <a16:colId xmlns:a16="http://schemas.microsoft.com/office/drawing/2014/main" xmlns="" val="20004"/>
                    </a:ext>
                  </a:extLst>
                </a:gridCol>
              </a:tblGrid>
              <a:tr h="398171">
                <a:tc>
                  <a:txBody>
                    <a:bodyPr/>
                    <a:lstStyle/>
                    <a:p>
                      <a:pPr algn="just">
                        <a:lnSpc>
                          <a:spcPct val="107000"/>
                        </a:lnSpc>
                        <a:spcAft>
                          <a:spcPts val="0"/>
                        </a:spcAft>
                      </a:pPr>
                      <a:r>
                        <a:rPr lang="ru-RU" sz="1100" dirty="0">
                          <a:effectLst/>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gridSpan="3">
                  <a:txBody>
                    <a:bodyPr/>
                    <a:lstStyle/>
                    <a:p>
                      <a:pPr algn="just">
                        <a:lnSpc>
                          <a:spcPct val="107000"/>
                        </a:lnSpc>
                        <a:spcAft>
                          <a:spcPts val="0"/>
                        </a:spcAft>
                      </a:pPr>
                      <a:r>
                        <a:rPr lang="ru-RU" sz="1100" dirty="0">
                          <a:solidFill>
                            <a:srgbClr val="000000"/>
                          </a:solidFill>
                          <a:effectLst/>
                        </a:rPr>
                        <a:t>2. Сведения об использованных средствах измерений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xmlns="" val="10000"/>
                  </a:ext>
                </a:extLst>
              </a:tr>
              <a:tr h="1501999">
                <a:tc>
                  <a:txBody>
                    <a:bodyPr/>
                    <a:lstStyle/>
                    <a:p>
                      <a:pPr algn="ctr">
                        <a:lnSpc>
                          <a:spcPct val="107000"/>
                        </a:lnSpc>
                        <a:spcAft>
                          <a:spcPts val="0"/>
                        </a:spcAft>
                      </a:pPr>
                      <a:r>
                        <a:rPr lang="ru-RU" sz="1100" dirty="0">
                          <a:solidFill>
                            <a:schemeClr val="tx2">
                              <a:lumMod val="50000"/>
                            </a:schemeClr>
                          </a:solidFill>
                          <a:effectLst/>
                        </a:rPr>
                        <a:t>№ п/п </a:t>
                      </a:r>
                      <a:endParaRPr lang="ru-RU"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a:txBody>
                    <a:bodyPr/>
                    <a:lstStyle/>
                    <a:p>
                      <a:pPr algn="ctr">
                        <a:lnSpc>
                          <a:spcPct val="107000"/>
                        </a:lnSpc>
                        <a:spcAft>
                          <a:spcPts val="0"/>
                        </a:spcAft>
                      </a:pPr>
                      <a:r>
                        <a:rPr lang="ru-RU" sz="1100" dirty="0">
                          <a:solidFill>
                            <a:srgbClr val="000000"/>
                          </a:solidFill>
                          <a:effectLst/>
                        </a:rPr>
                        <a:t>Наименование и обозначение типа </a:t>
                      </a:r>
                    </a:p>
                    <a:p>
                      <a:pPr algn="ctr">
                        <a:lnSpc>
                          <a:spcPct val="107000"/>
                        </a:lnSpc>
                        <a:spcAft>
                          <a:spcPts val="0"/>
                        </a:spcAft>
                      </a:pPr>
                      <a:r>
                        <a:rPr lang="ru-RU" sz="1100" dirty="0">
                          <a:solidFill>
                            <a:srgbClr val="000000"/>
                          </a:solidFill>
                          <a:effectLst/>
                        </a:rPr>
                        <a:t>средства измерений </a:t>
                      </a:r>
                    </a:p>
                    <a:p>
                      <a:pPr algn="ctr">
                        <a:lnSpc>
                          <a:spcPct val="107000"/>
                        </a:lnSpc>
                        <a:spcAft>
                          <a:spcPts val="0"/>
                        </a:spcAft>
                      </a:pPr>
                      <a:r>
                        <a:rPr lang="ru-RU" sz="1100" dirty="0">
                          <a:solidFill>
                            <a:srgbClr val="000000"/>
                          </a:solidFill>
                          <a:effectLst/>
                        </a:rPr>
                        <a:t>- прибора </a:t>
                      </a:r>
                    </a:p>
                    <a:p>
                      <a:pPr algn="ctr">
                        <a:lnSpc>
                          <a:spcPct val="107000"/>
                        </a:lnSpc>
                        <a:spcAft>
                          <a:spcPts val="0"/>
                        </a:spcAft>
                      </a:pPr>
                      <a:r>
                        <a:rPr lang="ru-RU" sz="1100" dirty="0">
                          <a:solidFill>
                            <a:srgbClr val="000000"/>
                          </a:solidFill>
                          <a:effectLst/>
                        </a:rPr>
                        <a:t>(инструмента, аппаратуры)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a:txBody>
                    <a:bodyPr/>
                    <a:lstStyle/>
                    <a:p>
                      <a:pPr algn="ctr">
                        <a:lnSpc>
                          <a:spcPct val="107000"/>
                        </a:lnSpc>
                        <a:spcAft>
                          <a:spcPts val="0"/>
                        </a:spcAft>
                      </a:pPr>
                      <a:r>
                        <a:rPr lang="ru-RU" sz="1100" dirty="0">
                          <a:solidFill>
                            <a:srgbClr val="000000"/>
                          </a:solidFill>
                          <a:effectLst/>
                        </a:rPr>
                        <a:t>Заводской или серийный номер средства измерений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a:txBody>
                    <a:bodyPr/>
                    <a:lstStyle/>
                    <a:p>
                      <a:pPr algn="ctr">
                        <a:lnSpc>
                          <a:spcPct val="107000"/>
                        </a:lnSpc>
                        <a:spcAft>
                          <a:spcPts val="0"/>
                        </a:spcAft>
                      </a:pPr>
                      <a:r>
                        <a:rPr lang="ru-RU" sz="1100" dirty="0">
                          <a:solidFill>
                            <a:srgbClr val="000000"/>
                          </a:solidFill>
                          <a:effectLst/>
                        </a:rPr>
                        <a:t>Реквизиты свидетельства о поверке прибора (инструмента, аппаратуры) и(или) срок действия поверки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extLst>
                  <a:ext uri="{0D108BD9-81ED-4DB2-BD59-A6C34878D82A}">
                    <a16:rowId xmlns:a16="http://schemas.microsoft.com/office/drawing/2014/main" xmlns="" val="10001"/>
                  </a:ext>
                </a:extLst>
              </a:tr>
              <a:tr h="386713">
                <a:tc>
                  <a:txBody>
                    <a:bodyPr/>
                    <a:lstStyle/>
                    <a:p>
                      <a:pPr algn="ctr">
                        <a:lnSpc>
                          <a:spcPct val="107000"/>
                        </a:lnSpc>
                        <a:spcAft>
                          <a:spcPts val="0"/>
                        </a:spcAft>
                      </a:pPr>
                      <a:r>
                        <a:rPr lang="ru-RU" sz="1100" dirty="0">
                          <a:solidFill>
                            <a:schemeClr val="tx2">
                              <a:lumMod val="50000"/>
                            </a:schemeClr>
                          </a:solidFill>
                          <a:effectLst/>
                        </a:rPr>
                        <a:t>1 </a:t>
                      </a:r>
                      <a:endParaRPr lang="ru-RU"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a:txBody>
                    <a:bodyPr/>
                    <a:lstStyle/>
                    <a:p>
                      <a:pPr algn="ctr">
                        <a:lnSpc>
                          <a:spcPct val="107000"/>
                        </a:lnSpc>
                        <a:spcAft>
                          <a:spcPts val="0"/>
                        </a:spcAft>
                      </a:pPr>
                      <a:r>
                        <a:rPr lang="ru-RU" sz="1100" dirty="0">
                          <a:solidFill>
                            <a:srgbClr val="000000"/>
                          </a:solidFill>
                          <a:effectLst/>
                        </a:rPr>
                        <a:t>2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a:txBody>
                    <a:bodyPr/>
                    <a:lstStyle/>
                    <a:p>
                      <a:pPr algn="ctr">
                        <a:lnSpc>
                          <a:spcPct val="107000"/>
                        </a:lnSpc>
                        <a:spcAft>
                          <a:spcPts val="0"/>
                        </a:spcAft>
                      </a:pPr>
                      <a:r>
                        <a:rPr lang="ru-RU" sz="1100" dirty="0">
                          <a:solidFill>
                            <a:srgbClr val="000000"/>
                          </a:solidFill>
                          <a:effectLst/>
                        </a:rPr>
                        <a:t>3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a:txBody>
                    <a:bodyPr/>
                    <a:lstStyle/>
                    <a:p>
                      <a:pPr algn="ctr">
                        <a:lnSpc>
                          <a:spcPct val="107000"/>
                        </a:lnSpc>
                        <a:spcAft>
                          <a:spcPts val="0"/>
                        </a:spcAft>
                      </a:pPr>
                      <a:r>
                        <a:rPr lang="ru-RU" sz="1100" dirty="0">
                          <a:solidFill>
                            <a:srgbClr val="000000"/>
                          </a:solidFill>
                          <a:effectLst/>
                        </a:rPr>
                        <a:t>4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extLst>
                  <a:ext uri="{0D108BD9-81ED-4DB2-BD59-A6C34878D82A}">
                    <a16:rowId xmlns:a16="http://schemas.microsoft.com/office/drawing/2014/main" xmlns="" val="10002"/>
                  </a:ext>
                </a:extLst>
              </a:tr>
              <a:tr h="791330">
                <a:tc>
                  <a:txBody>
                    <a:bodyPr/>
                    <a:lstStyle/>
                    <a:p>
                      <a:pPr algn="ctr">
                        <a:lnSpc>
                          <a:spcPct val="107000"/>
                        </a:lnSpc>
                        <a:spcAft>
                          <a:spcPts val="0"/>
                        </a:spcAft>
                      </a:pPr>
                      <a:r>
                        <a:rPr lang="ru-RU" sz="1100" dirty="0">
                          <a:solidFill>
                            <a:schemeClr val="tx2">
                              <a:lumMod val="50000"/>
                            </a:schemeClr>
                          </a:solidFill>
                          <a:effectLst/>
                        </a:rPr>
                        <a:t>1 </a:t>
                      </a:r>
                      <a:endParaRPr lang="ru-RU"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a:txBody>
                    <a:bodyPr/>
                    <a:lstStyle/>
                    <a:p>
                      <a:pPr algn="ctr">
                        <a:lnSpc>
                          <a:spcPct val="107000"/>
                        </a:lnSpc>
                        <a:spcAft>
                          <a:spcPts val="0"/>
                        </a:spcAft>
                      </a:pPr>
                      <a:r>
                        <a:rPr lang="ru-RU" sz="1100" dirty="0">
                          <a:solidFill>
                            <a:srgbClr val="000000"/>
                          </a:solidFill>
                          <a:effectLst/>
                        </a:rPr>
                        <a:t>South Galaxy G1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a:txBody>
                    <a:bodyPr/>
                    <a:lstStyle/>
                    <a:p>
                      <a:pPr algn="ctr">
                        <a:lnSpc>
                          <a:spcPct val="107000"/>
                        </a:lnSpc>
                        <a:spcAft>
                          <a:spcPts val="0"/>
                        </a:spcAft>
                      </a:pPr>
                      <a:r>
                        <a:rPr lang="ru-RU" sz="1100" dirty="0">
                          <a:solidFill>
                            <a:srgbClr val="000000"/>
                          </a:solidFill>
                          <a:effectLst/>
                        </a:rPr>
                        <a:t>68309-17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tc>
                  <a:txBody>
                    <a:bodyPr/>
                    <a:lstStyle/>
                    <a:p>
                      <a:pPr algn="ctr">
                        <a:lnSpc>
                          <a:spcPct val="107000"/>
                        </a:lnSpc>
                        <a:spcAft>
                          <a:spcPts val="0"/>
                        </a:spcAft>
                      </a:pPr>
                      <a:r>
                        <a:rPr lang="ru-RU" sz="1100" dirty="0">
                          <a:solidFill>
                            <a:srgbClr val="000000"/>
                          </a:solidFill>
                          <a:effectLst/>
                        </a:rPr>
                        <a:t>Свидетельство о поверке № 18717188, выдано 26.09.2021 г., действительно до 25.09.2022  г.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0005" marR="29210" marT="0" marB="0"/>
                </a:tc>
                <a:extLst>
                  <a:ext uri="{0D108BD9-81ED-4DB2-BD59-A6C34878D82A}">
                    <a16:rowId xmlns:a16="http://schemas.microsoft.com/office/drawing/2014/main" xmlns="" val="10003"/>
                  </a:ext>
                </a:extLst>
              </a:tr>
              <a:tr h="791330">
                <a:tc>
                  <a:txBody>
                    <a:bodyPr/>
                    <a:lstStyle/>
                    <a:p>
                      <a:pPr algn="ctr">
                        <a:lnSpc>
                          <a:spcPct val="107000"/>
                        </a:lnSpc>
                        <a:spcAft>
                          <a:spcPts val="0"/>
                        </a:spcAft>
                      </a:pPr>
                      <a:r>
                        <a:rPr lang="ru-RU" sz="1100" dirty="0">
                          <a:solidFill>
                            <a:schemeClr val="tx2">
                              <a:lumMod val="50000"/>
                            </a:schemeClr>
                          </a:solidFill>
                          <a:effectLst/>
                        </a:rPr>
                        <a:t>2 </a:t>
                      </a:r>
                      <a:endParaRPr lang="ru-RU"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163195" marT="0" marB="0" anchor="ctr"/>
                </a:tc>
                <a:tc>
                  <a:txBody>
                    <a:bodyPr/>
                    <a:lstStyle/>
                    <a:p>
                      <a:pPr algn="ctr">
                        <a:lnSpc>
                          <a:spcPct val="107000"/>
                        </a:lnSpc>
                        <a:spcAft>
                          <a:spcPts val="0"/>
                        </a:spcAft>
                      </a:pPr>
                      <a:r>
                        <a:rPr lang="ru-RU" sz="1100">
                          <a:solidFill>
                            <a:srgbClr val="000000"/>
                          </a:solidFill>
                          <a:effectLst/>
                        </a:rPr>
                        <a:t>South Galaxy G1 </a:t>
                      </a:r>
                      <a:endParaRPr lang="ru-RU"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163195" marT="0" marB="0"/>
                </a:tc>
                <a:tc>
                  <a:txBody>
                    <a:bodyPr/>
                    <a:lstStyle/>
                    <a:p>
                      <a:pPr algn="ctr"/>
                      <a:r>
                        <a:rPr lang="ru-RU" sz="1100" dirty="0">
                          <a:solidFill>
                            <a:srgbClr val="000000"/>
                          </a:solidFill>
                          <a:effectLst/>
                        </a:rPr>
                        <a:t>68310-17 </a:t>
                      </a:r>
                      <a:endParaRPr lang="ru-RU" dirty="0">
                        <a:solidFill>
                          <a:srgbClr val="000000"/>
                        </a:solidFill>
                      </a:endParaRPr>
                    </a:p>
                  </a:txBody>
                  <a:tcPr marL="51435" marR="163195" marT="0" marB="0"/>
                </a:tc>
                <a:tc>
                  <a:txBody>
                    <a:bodyPr/>
                    <a:lstStyle/>
                    <a:p>
                      <a:pPr algn="ctr">
                        <a:lnSpc>
                          <a:spcPct val="107000"/>
                        </a:lnSpc>
                        <a:spcAft>
                          <a:spcPts val="0"/>
                        </a:spcAft>
                      </a:pPr>
                      <a:r>
                        <a:rPr lang="ru-RU" sz="1100" dirty="0">
                          <a:solidFill>
                            <a:srgbClr val="000000"/>
                          </a:solidFill>
                          <a:effectLst/>
                        </a:rPr>
                        <a:t>Свидетельство о поверке № 18717189, выдано 26.09.2021 г., действительно до 25.09.2022  г. </a:t>
                      </a:r>
                      <a:endParaRPr lang="ru-RU"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163195" marT="0" marB="0"/>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3314455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31</a:t>
            </a:fld>
            <a:endParaRPr lang="ru-RU" dirty="0"/>
          </a:p>
        </p:txBody>
      </p:sp>
      <p:sp>
        <p:nvSpPr>
          <p:cNvPr id="3" name="Заголовок 2"/>
          <p:cNvSpPr>
            <a:spLocks noGrp="1"/>
          </p:cNvSpPr>
          <p:nvPr>
            <p:ph type="title"/>
          </p:nvPr>
        </p:nvSpPr>
        <p:spPr/>
        <p:txBody>
          <a:bodyPr>
            <a:normAutofit fontScale="90000"/>
          </a:bodyPr>
          <a:lstStyle/>
          <a:p>
            <a:pPr>
              <a:lnSpc>
                <a:spcPct val="107000"/>
              </a:lnSpc>
              <a:spcAft>
                <a:spcPts val="0"/>
              </a:spcAft>
            </a:pPr>
            <a:r>
              <a:rPr lang="ru-RU" dirty="0">
                <a:latin typeface="Times New Roman" panose="02020603050405020304" pitchFamily="18" charset="0"/>
                <a:ea typeface="Calibri" panose="020F0502020204030204" pitchFamily="34" charset="0"/>
                <a:cs typeface="Times New Roman" panose="02020603050405020304" pitchFamily="18" charset="0"/>
              </a:rPr>
              <a:t/>
            </a:r>
            <a:br>
              <a:rPr lang="ru-RU" dirty="0">
                <a:latin typeface="Times New Roman" panose="02020603050405020304" pitchFamily="18" charset="0"/>
                <a:ea typeface="Calibri" panose="020F0502020204030204" pitchFamily="34" charset="0"/>
                <a:cs typeface="Times New Roman" panose="02020603050405020304" pitchFamily="18" charset="0"/>
              </a:rPr>
            </a:br>
            <a:r>
              <a:rPr lang="ru-RU" dirty="0">
                <a:latin typeface="Times New Roman" panose="02020603050405020304" pitchFamily="18" charset="0"/>
                <a:cs typeface="Times New Roman" panose="02020603050405020304" pitchFamily="18" charset="0"/>
              </a:rPr>
              <a:t>Федеральная государственная система Росстандарта</a:t>
            </a:r>
            <a:r>
              <a:rPr lang="ru-RU" sz="1800" dirty="0">
                <a:latin typeface="Calibri" panose="020F0502020204030204" pitchFamily="34" charset="0"/>
                <a:ea typeface="Calibri" panose="020F0502020204030204" pitchFamily="34" charset="0"/>
                <a:cs typeface="Times New Roman" panose="02020603050405020304" pitchFamily="18" charset="0"/>
              </a:rPr>
              <a:t/>
            </a:r>
            <a:br>
              <a:rPr lang="ru-RU" sz="1800" dirty="0">
                <a:latin typeface="Calibri" panose="020F0502020204030204" pitchFamily="34" charset="0"/>
                <a:ea typeface="Calibri" panose="020F0502020204030204" pitchFamily="34" charset="0"/>
                <a:cs typeface="Times New Roman" panose="02020603050405020304" pitchFamily="18" charset="0"/>
              </a:rPr>
            </a:br>
            <a:endParaRPr lang="ru-RU" dirty="0"/>
          </a:p>
        </p:txBody>
      </p:sp>
      <p:pic>
        <p:nvPicPr>
          <p:cNvPr id="7" name="Picutre 49">
            <a:extLst>
              <a:ext uri="{FF2B5EF4-FFF2-40B4-BE49-F238E27FC236}">
                <a16:creationId xmlns:a16="http://schemas.microsoft.com/office/drawing/2014/main" xmlns="" id="{2D7FA434-4C3E-4138-B516-01A808AA42C7}"/>
              </a:ext>
            </a:extLst>
          </p:cNvPr>
          <p:cNvPicPr/>
          <p:nvPr/>
        </p:nvPicPr>
        <p:blipFill>
          <a:blip r:embed="rId2"/>
          <a:stretch/>
        </p:blipFill>
        <p:spPr>
          <a:xfrm>
            <a:off x="1494972" y="957721"/>
            <a:ext cx="9202056" cy="5558971"/>
          </a:xfrm>
          <a:prstGeom prst="rect">
            <a:avLst/>
          </a:prstGeom>
        </p:spPr>
      </p:pic>
    </p:spTree>
    <p:extLst>
      <p:ext uri="{BB962C8B-B14F-4D97-AF65-F5344CB8AC3E}">
        <p14:creationId xmlns:p14="http://schemas.microsoft.com/office/powerpoint/2010/main" val="201820968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32</a:t>
            </a:fld>
            <a:endParaRPr lang="ru-RU" dirty="0"/>
          </a:p>
        </p:txBody>
      </p:sp>
      <p:pic>
        <p:nvPicPr>
          <p:cNvPr id="21" name="Рисунок 20">
            <a:extLst>
              <a:ext uri="{FF2B5EF4-FFF2-40B4-BE49-F238E27FC236}">
                <a16:creationId xmlns:a16="http://schemas.microsoft.com/office/drawing/2014/main" xmlns="" id="{743A77A6-5A85-458D-B8EC-64B1A96ED9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8184" y="1393372"/>
            <a:ext cx="9515632" cy="5305884"/>
          </a:xfrm>
          <a:prstGeom prst="rect">
            <a:avLst/>
          </a:prstGeom>
        </p:spPr>
      </p:pic>
      <p:sp>
        <p:nvSpPr>
          <p:cNvPr id="23" name="TextBox 22">
            <a:extLst>
              <a:ext uri="{FF2B5EF4-FFF2-40B4-BE49-F238E27FC236}">
                <a16:creationId xmlns:a16="http://schemas.microsoft.com/office/drawing/2014/main" xmlns="" id="{88B3A248-9183-4E8E-A182-DBEF1C513534}"/>
              </a:ext>
            </a:extLst>
          </p:cNvPr>
          <p:cNvSpPr txBox="1"/>
          <p:nvPr/>
        </p:nvSpPr>
        <p:spPr>
          <a:xfrm>
            <a:off x="870856" y="81373"/>
            <a:ext cx="11016343" cy="1200329"/>
          </a:xfrm>
          <a:prstGeom prst="rect">
            <a:avLst/>
          </a:prstGeom>
          <a:noFill/>
        </p:spPr>
        <p:txBody>
          <a:bodyPr wrap="square">
            <a:spAutoFit/>
          </a:bodyPr>
          <a:lstStyle/>
          <a:p>
            <a:r>
              <a:rPr lang="ru-RU" sz="2400" b="1" dirty="0">
                <a:latin typeface="+mj-lt"/>
                <a:ea typeface="+mj-ea"/>
                <a:cs typeface="+mj-cs"/>
              </a:rPr>
              <a:t>Информация о поверке, в том числе реквизиты свидетельства указаны во вкладке «Сведения о результатах поверки средств измерений» ФГИС «Аршин» </a:t>
            </a:r>
          </a:p>
        </p:txBody>
      </p:sp>
    </p:spTree>
    <p:extLst>
      <p:ext uri="{BB962C8B-B14F-4D97-AF65-F5344CB8AC3E}">
        <p14:creationId xmlns:p14="http://schemas.microsoft.com/office/powerpoint/2010/main" val="391960581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4D135F75-A99C-47B6-BBF2-B285729529AA}"/>
              </a:ext>
            </a:extLst>
          </p:cNvPr>
          <p:cNvSpPr>
            <a:spLocks noGrp="1"/>
          </p:cNvSpPr>
          <p:nvPr>
            <p:ph type="sldNum" sz="quarter" idx="10"/>
          </p:nvPr>
        </p:nvSpPr>
        <p:spPr/>
        <p:txBody>
          <a:bodyPr/>
          <a:lstStyle/>
          <a:p>
            <a:fld id="{35ACA335-37F7-42C7-872A-92C3D7072F89}" type="slidenum">
              <a:rPr lang="ru-RU" smtClean="0"/>
              <a:pPr/>
              <a:t>33</a:t>
            </a:fld>
            <a:endParaRPr lang="ru-RU" dirty="0"/>
          </a:p>
        </p:txBody>
      </p:sp>
      <p:sp>
        <p:nvSpPr>
          <p:cNvPr id="3" name="Заголовок 2">
            <a:extLst>
              <a:ext uri="{FF2B5EF4-FFF2-40B4-BE49-F238E27FC236}">
                <a16:creationId xmlns:a16="http://schemas.microsoft.com/office/drawing/2014/main" xmlns="" id="{46A96301-798A-446C-B502-1AAE5C701FD4}"/>
              </a:ext>
            </a:extLst>
          </p:cNvPr>
          <p:cNvSpPr>
            <a:spLocks noGrp="1"/>
          </p:cNvSpPr>
          <p:nvPr>
            <p:ph type="title"/>
          </p:nvPr>
        </p:nvSpPr>
        <p:spPr>
          <a:xfrm>
            <a:off x="962025" y="5"/>
            <a:ext cx="10534651" cy="1219196"/>
          </a:xfrm>
        </p:spPr>
        <p:txBody>
          <a:bodyPr>
            <a:normAutofit/>
          </a:bodyPr>
          <a:lstStyle/>
          <a:p>
            <a:r>
              <a:rPr lang="ru-RU" sz="2400" dirty="0"/>
              <a:t>В реквизите «3» раздела «Исходные данные» указаны реквизиты свидетельства о поверке с истекшим сроком действия, не указана дата проведения поверки</a:t>
            </a:r>
            <a:endParaRPr lang="ru-RU" dirty="0"/>
          </a:p>
        </p:txBody>
      </p:sp>
      <p:pic>
        <p:nvPicPr>
          <p:cNvPr id="6" name="Picture 16227">
            <a:extLst>
              <a:ext uri="{FF2B5EF4-FFF2-40B4-BE49-F238E27FC236}">
                <a16:creationId xmlns:a16="http://schemas.microsoft.com/office/drawing/2014/main" xmlns="" id="{3D175211-3DEC-48DB-A281-51BA58A57A8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51942" y="1435448"/>
            <a:ext cx="7372350" cy="21050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229">
            <a:extLst>
              <a:ext uri="{FF2B5EF4-FFF2-40B4-BE49-F238E27FC236}">
                <a16:creationId xmlns:a16="http://schemas.microsoft.com/office/drawing/2014/main" xmlns="" id="{D35B2F33-54A6-45A2-ABCA-5FA7D67A5A1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8744" y="3756721"/>
            <a:ext cx="8591550" cy="2543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04163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C3DBE8DF-55F6-4446-AC75-5750253B5776}"/>
              </a:ext>
            </a:extLst>
          </p:cNvPr>
          <p:cNvSpPr>
            <a:spLocks noGrp="1"/>
          </p:cNvSpPr>
          <p:nvPr>
            <p:ph type="sldNum" sz="quarter" idx="10"/>
          </p:nvPr>
        </p:nvSpPr>
        <p:spPr/>
        <p:txBody>
          <a:bodyPr/>
          <a:lstStyle/>
          <a:p>
            <a:fld id="{35ACA335-37F7-42C7-872A-92C3D7072F89}" type="slidenum">
              <a:rPr lang="ru-RU" smtClean="0"/>
              <a:pPr/>
              <a:t>34</a:t>
            </a:fld>
            <a:endParaRPr lang="ru-RU" dirty="0"/>
          </a:p>
        </p:txBody>
      </p:sp>
      <p:sp>
        <p:nvSpPr>
          <p:cNvPr id="3" name="Заголовок 2">
            <a:extLst>
              <a:ext uri="{FF2B5EF4-FFF2-40B4-BE49-F238E27FC236}">
                <a16:creationId xmlns:a16="http://schemas.microsoft.com/office/drawing/2014/main" xmlns="" id="{570380FD-4DB0-44AA-A2DE-9877979B7D5D}"/>
              </a:ext>
            </a:extLst>
          </p:cNvPr>
          <p:cNvSpPr>
            <a:spLocks noGrp="1"/>
          </p:cNvSpPr>
          <p:nvPr>
            <p:ph type="title"/>
          </p:nvPr>
        </p:nvSpPr>
        <p:spPr>
          <a:xfrm>
            <a:off x="962025" y="5"/>
            <a:ext cx="10899775" cy="1625596"/>
          </a:xfrm>
        </p:spPr>
        <p:txBody>
          <a:bodyPr>
            <a:normAutofit/>
          </a:bodyPr>
          <a:lstStyle/>
          <a:p>
            <a:r>
              <a:rPr lang="ru-RU" sz="2400" dirty="0"/>
              <a:t>Раздел «Схема геодезических построений» оформлена не в соответствии с требованиями (не указано расстояние от базовых станций до ближайшей характерной точки объекта кадастровых </a:t>
            </a:r>
            <a:br>
              <a:rPr lang="ru-RU" sz="2400" dirty="0"/>
            </a:br>
            <a:r>
              <a:rPr lang="ru-RU" sz="2400" dirty="0"/>
              <a:t>работ и (или) схематичное изображение объекта кадастровых работ)</a:t>
            </a:r>
            <a:endParaRPr lang="ru-RU" dirty="0"/>
          </a:p>
        </p:txBody>
      </p:sp>
      <p:pic>
        <p:nvPicPr>
          <p:cNvPr id="8" name="Picture 16221">
            <a:extLst>
              <a:ext uri="{FF2B5EF4-FFF2-40B4-BE49-F238E27FC236}">
                <a16:creationId xmlns:a16="http://schemas.microsoft.com/office/drawing/2014/main" xmlns="" id="{5852786B-F4BA-4A4A-832F-E458B440C00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2025" y="2185175"/>
            <a:ext cx="3794779" cy="433151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xmlns="" id="{3E55CBE8-4807-4108-8D2B-A676C76F7C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0632" y="1625601"/>
            <a:ext cx="3704777" cy="4585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xmlns="" id="{4C80D687-6A9C-4E82-BCC0-B95A25B1FDB8}"/>
              </a:ext>
            </a:extLst>
          </p:cNvPr>
          <p:cNvSpPr txBox="1"/>
          <p:nvPr/>
        </p:nvSpPr>
        <p:spPr>
          <a:xfrm>
            <a:off x="7613328" y="2818972"/>
            <a:ext cx="4248472" cy="1754326"/>
          </a:xfrm>
          <a:prstGeom prst="rect">
            <a:avLst/>
          </a:prstGeom>
          <a:noFill/>
        </p:spPr>
        <p:txBody>
          <a:bodyPr wrap="square" rtlCol="0">
            <a:spAutoFit/>
          </a:bodyPr>
          <a:lstStyle/>
          <a:p>
            <a:r>
              <a:rPr lang="ru-RU" dirty="0"/>
              <a:t>Характерные точки объекта недвижимости не читаются, поэтому не представляется возможным определить от какой точки объекта недвижимости указано расстояние до пункта ГГС или пункта стояния</a:t>
            </a:r>
          </a:p>
        </p:txBody>
      </p:sp>
      <p:cxnSp>
        <p:nvCxnSpPr>
          <p:cNvPr id="14" name="Прямая со стрелкой 13">
            <a:extLst>
              <a:ext uri="{FF2B5EF4-FFF2-40B4-BE49-F238E27FC236}">
                <a16:creationId xmlns:a16="http://schemas.microsoft.com/office/drawing/2014/main" xmlns="" id="{22D464C8-42B0-40C2-8BA0-B474C85CA046}"/>
              </a:ext>
            </a:extLst>
          </p:cNvPr>
          <p:cNvCxnSpPr>
            <a:cxnSpLocks/>
          </p:cNvCxnSpPr>
          <p:nvPr/>
        </p:nvCxnSpPr>
        <p:spPr>
          <a:xfrm flipH="1">
            <a:off x="6633029" y="3696135"/>
            <a:ext cx="856343" cy="87716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84471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BB4D8A28-DB7C-4CB5-8584-08EF6E579A0F}"/>
              </a:ext>
            </a:extLst>
          </p:cNvPr>
          <p:cNvSpPr>
            <a:spLocks noGrp="1"/>
          </p:cNvSpPr>
          <p:nvPr>
            <p:ph type="sldNum" sz="quarter" idx="10"/>
          </p:nvPr>
        </p:nvSpPr>
        <p:spPr/>
        <p:txBody>
          <a:bodyPr/>
          <a:lstStyle/>
          <a:p>
            <a:fld id="{35ACA335-37F7-42C7-872A-92C3D7072F89}" type="slidenum">
              <a:rPr lang="ru-RU" smtClean="0"/>
              <a:pPr/>
              <a:t>35</a:t>
            </a:fld>
            <a:endParaRPr lang="ru-RU" dirty="0"/>
          </a:p>
        </p:txBody>
      </p:sp>
      <p:sp>
        <p:nvSpPr>
          <p:cNvPr id="3" name="Заголовок 2">
            <a:extLst>
              <a:ext uri="{FF2B5EF4-FFF2-40B4-BE49-F238E27FC236}">
                <a16:creationId xmlns:a16="http://schemas.microsoft.com/office/drawing/2014/main" xmlns="" id="{834D3581-8596-486D-97BF-938A95C59D4D}"/>
              </a:ext>
            </a:extLst>
          </p:cNvPr>
          <p:cNvSpPr>
            <a:spLocks noGrp="1"/>
          </p:cNvSpPr>
          <p:nvPr>
            <p:ph type="title"/>
          </p:nvPr>
        </p:nvSpPr>
        <p:spPr/>
        <p:txBody>
          <a:bodyPr/>
          <a:lstStyle/>
          <a:p>
            <a:r>
              <a:rPr lang="ru-RU" dirty="0"/>
              <a:t>Схема геодезических построений</a:t>
            </a:r>
          </a:p>
        </p:txBody>
      </p:sp>
      <p:sp>
        <p:nvSpPr>
          <p:cNvPr id="6" name="TextBox 5">
            <a:extLst>
              <a:ext uri="{FF2B5EF4-FFF2-40B4-BE49-F238E27FC236}">
                <a16:creationId xmlns:a16="http://schemas.microsoft.com/office/drawing/2014/main" xmlns="" id="{78C4D1DB-4B1B-4B17-87EA-5373945C9F3E}"/>
              </a:ext>
            </a:extLst>
          </p:cNvPr>
          <p:cNvSpPr txBox="1"/>
          <p:nvPr/>
        </p:nvSpPr>
        <p:spPr>
          <a:xfrm>
            <a:off x="9637486" y="158745"/>
            <a:ext cx="2322285" cy="369332"/>
          </a:xfrm>
          <a:prstGeom prst="rect">
            <a:avLst/>
          </a:prstGeom>
          <a:noFill/>
        </p:spPr>
        <p:txBody>
          <a:bodyPr wrap="square">
            <a:spAutoFit/>
          </a:bodyPr>
          <a:lstStyle/>
          <a:p>
            <a:r>
              <a:rPr lang="ru-RU" dirty="0"/>
              <a:t>Пример заполнения</a:t>
            </a:r>
          </a:p>
        </p:txBody>
      </p:sp>
      <p:pic>
        <p:nvPicPr>
          <p:cNvPr id="8" name="Рисунок 7">
            <a:extLst>
              <a:ext uri="{FF2B5EF4-FFF2-40B4-BE49-F238E27FC236}">
                <a16:creationId xmlns:a16="http://schemas.microsoft.com/office/drawing/2014/main" xmlns="" id="{A5564AA3-C968-4F97-8DF4-B6470BA8A1AF}"/>
              </a:ext>
            </a:extLst>
          </p:cNvPr>
          <p:cNvPicPr>
            <a:picLocks noChangeAspect="1"/>
          </p:cNvPicPr>
          <p:nvPr/>
        </p:nvPicPr>
        <p:blipFill>
          <a:blip r:embed="rId2"/>
          <a:stretch>
            <a:fillRect/>
          </a:stretch>
        </p:blipFill>
        <p:spPr>
          <a:xfrm>
            <a:off x="614376" y="1168948"/>
            <a:ext cx="3208264" cy="4536714"/>
          </a:xfrm>
          <a:prstGeom prst="rect">
            <a:avLst/>
          </a:prstGeom>
        </p:spPr>
      </p:pic>
      <p:pic>
        <p:nvPicPr>
          <p:cNvPr id="10" name="Рисунок 9">
            <a:extLst>
              <a:ext uri="{FF2B5EF4-FFF2-40B4-BE49-F238E27FC236}">
                <a16:creationId xmlns:a16="http://schemas.microsoft.com/office/drawing/2014/main" xmlns="" id="{6762F4E3-1597-4609-9272-1507CFF9CA2C}"/>
              </a:ext>
            </a:extLst>
          </p:cNvPr>
          <p:cNvPicPr>
            <a:picLocks noChangeAspect="1"/>
          </p:cNvPicPr>
          <p:nvPr/>
        </p:nvPicPr>
        <p:blipFill>
          <a:blip r:embed="rId3"/>
          <a:stretch>
            <a:fillRect/>
          </a:stretch>
        </p:blipFill>
        <p:spPr>
          <a:xfrm>
            <a:off x="4475042" y="1124534"/>
            <a:ext cx="3241916" cy="4581128"/>
          </a:xfrm>
          <a:prstGeom prst="rect">
            <a:avLst/>
          </a:prstGeom>
        </p:spPr>
      </p:pic>
      <p:pic>
        <p:nvPicPr>
          <p:cNvPr id="12" name="Рисунок 11">
            <a:extLst>
              <a:ext uri="{FF2B5EF4-FFF2-40B4-BE49-F238E27FC236}">
                <a16:creationId xmlns:a16="http://schemas.microsoft.com/office/drawing/2014/main" xmlns="" id="{98CAB462-03A9-46F3-9E1E-602969FD2860}"/>
              </a:ext>
            </a:extLst>
          </p:cNvPr>
          <p:cNvPicPr>
            <a:picLocks noChangeAspect="1"/>
          </p:cNvPicPr>
          <p:nvPr/>
        </p:nvPicPr>
        <p:blipFill>
          <a:blip r:embed="rId4"/>
          <a:stretch>
            <a:fillRect/>
          </a:stretch>
        </p:blipFill>
        <p:spPr>
          <a:xfrm>
            <a:off x="8526311" y="1043234"/>
            <a:ext cx="3241916" cy="4590972"/>
          </a:xfrm>
          <a:prstGeom prst="rect">
            <a:avLst/>
          </a:prstGeom>
        </p:spPr>
      </p:pic>
    </p:spTree>
    <p:extLst>
      <p:ext uri="{BB962C8B-B14F-4D97-AF65-F5344CB8AC3E}">
        <p14:creationId xmlns:p14="http://schemas.microsoft.com/office/powerpoint/2010/main" val="34303049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le 1">
            <a:extLst>
              <a:ext uri="{FF2B5EF4-FFF2-40B4-BE49-F238E27FC236}">
                <a16:creationId xmlns:a16="http://schemas.microsoft.com/office/drawing/2014/main" xmlns="" id="{787E41F1-CA65-45B6-B2CE-5C337D8F5BEF}"/>
              </a:ext>
            </a:extLst>
          </p:cNvPr>
          <p:cNvSpPr>
            <a:spLocks noGrp="1"/>
          </p:cNvSpPr>
          <p:nvPr>
            <p:ph type="ctrTitle"/>
          </p:nvPr>
        </p:nvSpPr>
        <p:spPr>
          <a:xfrm>
            <a:off x="8495396" y="4905457"/>
            <a:ext cx="5716815" cy="2149315"/>
          </a:xfrm>
        </p:spPr>
        <p:txBody>
          <a:bodyPr/>
          <a:lstStyle/>
          <a:p>
            <a:pPr algn="l"/>
            <a:r>
              <a:rPr lang="ru-RU" dirty="0">
                <a:solidFill>
                  <a:schemeClr val="tx1"/>
                </a:solidFill>
              </a:rPr>
              <a:t>Спасибо</a:t>
            </a:r>
            <a:br>
              <a:rPr lang="ru-RU" dirty="0">
                <a:solidFill>
                  <a:schemeClr val="tx1"/>
                </a:solidFill>
              </a:rPr>
            </a:br>
            <a:r>
              <a:rPr lang="ru-RU" dirty="0">
                <a:solidFill>
                  <a:schemeClr val="tx1"/>
                </a:solidFill>
              </a:rPr>
              <a:t>за внимание!</a:t>
            </a:r>
          </a:p>
        </p:txBody>
      </p:sp>
      <p:sp>
        <p:nvSpPr>
          <p:cNvPr id="3" name="Title 1">
            <a:extLst>
              <a:ext uri="{FF2B5EF4-FFF2-40B4-BE49-F238E27FC236}">
                <a16:creationId xmlns:a16="http://schemas.microsoft.com/office/drawing/2014/main" xmlns="" id="{787E41F1-CA65-45B6-B2CE-5C337D8F5BEF}"/>
              </a:ext>
            </a:extLst>
          </p:cNvPr>
          <p:cNvSpPr txBox="1">
            <a:spLocks/>
          </p:cNvSpPr>
          <p:nvPr/>
        </p:nvSpPr>
        <p:spPr bwMode="auto">
          <a:xfrm>
            <a:off x="579063" y="3135923"/>
            <a:ext cx="5716815" cy="2149315"/>
          </a:xfrm>
          <a:prstGeom prst="rect">
            <a:avLst/>
          </a:prstGeom>
        </p:spPr>
        <p:txBody>
          <a:bodyPr vert="horz" lIns="91440" tIns="45720" rIns="91440" bIns="45720" rtlCol="0" anchor="t">
            <a:normAutofit/>
          </a:bodyPr>
          <a:lstStyle>
            <a:lvl1pPr algn="r" defTabSz="914377" rtl="0" eaLnBrk="1" latinLnBrk="0" hangingPunct="1">
              <a:lnSpc>
                <a:spcPct val="90000"/>
              </a:lnSpc>
              <a:spcBef>
                <a:spcPct val="0"/>
              </a:spcBef>
              <a:buNone/>
              <a:defRPr sz="3600" b="1" kern="1200">
                <a:solidFill>
                  <a:srgbClr val="000000"/>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ru-RU" sz="4000" b="1" i="0" u="none" strike="noStrike" kern="1200" cap="none" spc="0" normalizeH="0" baseline="0" noProof="0" dirty="0">
              <a:ln>
                <a:noFill/>
              </a:ln>
              <a:solidFill>
                <a:srgbClr val="4D4D4D"/>
              </a:solidFill>
              <a:effectLst/>
              <a:uLnTx/>
              <a:uFillTx/>
              <a:latin typeface="Arial"/>
              <a:ea typeface="+mj-ea"/>
              <a:cs typeface="+mj-cs"/>
            </a:endParaRP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6235" y="1935617"/>
            <a:ext cx="1958749" cy="3230088"/>
          </a:xfrm>
          <a:prstGeom prst="rect">
            <a:avLst/>
          </a:prstGeom>
        </p:spPr>
      </p:pic>
      <p:sp>
        <p:nvSpPr>
          <p:cNvPr id="12" name="Прямоугольник 11"/>
          <p:cNvSpPr/>
          <p:nvPr/>
        </p:nvSpPr>
        <p:spPr>
          <a:xfrm>
            <a:off x="1986234" y="1935617"/>
            <a:ext cx="1958749" cy="3230088"/>
          </a:xfrm>
          <a:prstGeom prst="rect">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TextBox 6">
            <a:extLst>
              <a:ext uri="{FF2B5EF4-FFF2-40B4-BE49-F238E27FC236}">
                <a16:creationId xmlns:a16="http://schemas.microsoft.com/office/drawing/2014/main" xmlns="" id="{686A94FC-6CD5-475B-9D05-7A7A4A4E7C52}"/>
              </a:ext>
            </a:extLst>
          </p:cNvPr>
          <p:cNvSpPr txBox="1"/>
          <p:nvPr/>
        </p:nvSpPr>
        <p:spPr>
          <a:xfrm>
            <a:off x="6295878" y="1995003"/>
            <a:ext cx="5504543" cy="646331"/>
          </a:xfrm>
          <a:prstGeom prst="rect">
            <a:avLst/>
          </a:prstGeom>
          <a:noFill/>
        </p:spPr>
        <p:txBody>
          <a:bodyPr wrap="square">
            <a:spAutoFit/>
          </a:bodyPr>
          <a:lstStyle/>
          <a:p>
            <a:r>
              <a:rPr lang="ru-RU" dirty="0"/>
              <a:t>По  вопросам, возникающих при подготовке технических и межевых планов</a:t>
            </a:r>
          </a:p>
        </p:txBody>
      </p:sp>
      <p:sp>
        <p:nvSpPr>
          <p:cNvPr id="6" name="Прямоугольник 5">
            <a:extLst>
              <a:ext uri="{FF2B5EF4-FFF2-40B4-BE49-F238E27FC236}">
                <a16:creationId xmlns:a16="http://schemas.microsoft.com/office/drawing/2014/main" xmlns="" id="{25524755-ACF4-45DB-A6A2-4D24E6CC4021}"/>
              </a:ext>
            </a:extLst>
          </p:cNvPr>
          <p:cNvSpPr/>
          <p:nvPr/>
        </p:nvSpPr>
        <p:spPr>
          <a:xfrm>
            <a:off x="7645871" y="2746728"/>
            <a:ext cx="3561380" cy="523220"/>
          </a:xfrm>
          <a:prstGeom prst="rect">
            <a:avLst/>
          </a:prstGeom>
        </p:spPr>
        <p:txBody>
          <a:bodyPr wrap="square">
            <a:spAutoFit/>
          </a:bodyPr>
          <a:lstStyle/>
          <a:p>
            <a:r>
              <a:rPr lang="en-US" sz="2800" dirty="0"/>
              <a:t>47</a:t>
            </a:r>
            <a:r>
              <a:rPr lang="ru-RU" sz="2800" dirty="0"/>
              <a:t>_</a:t>
            </a:r>
            <a:r>
              <a:rPr lang="en-US" sz="2800" dirty="0"/>
              <a:t>upr@rosreestr.ru</a:t>
            </a:r>
            <a:endParaRPr lang="ru-RU" sz="2800" dirty="0"/>
          </a:p>
        </p:txBody>
      </p:sp>
    </p:spTree>
    <p:extLst>
      <p:ext uri="{BB962C8B-B14F-4D97-AF65-F5344CB8AC3E}">
        <p14:creationId xmlns:p14="http://schemas.microsoft.com/office/powerpoint/2010/main" val="29572669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4</a:t>
            </a:fld>
            <a:endParaRPr lang="ru-RU" dirty="0"/>
          </a:p>
        </p:txBody>
      </p:sp>
      <p:sp>
        <p:nvSpPr>
          <p:cNvPr id="3" name="Заголовок 2"/>
          <p:cNvSpPr>
            <a:spLocks noGrp="1"/>
          </p:cNvSpPr>
          <p:nvPr>
            <p:ph type="title"/>
          </p:nvPr>
        </p:nvSpPr>
        <p:spPr/>
        <p:txBody>
          <a:bodyPr/>
          <a:lstStyle/>
          <a:p>
            <a:r>
              <a:rPr lang="ru-RU" dirty="0" smtClean="0"/>
              <a:t>Геодезические пункты - примеры</a:t>
            </a:r>
            <a:endParaRPr lang="ru-RU" dirty="0"/>
          </a:p>
        </p:txBody>
      </p:sp>
      <p:sp>
        <p:nvSpPr>
          <p:cNvPr id="5" name="AutoShape 2" descr="attachment.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205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868" t="18943" r="-465" b="2719"/>
          <a:stretch/>
        </p:blipFill>
        <p:spPr bwMode="auto">
          <a:xfrm>
            <a:off x="2142698" y="928046"/>
            <a:ext cx="7877289" cy="5631135"/>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8358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C7F033F7-1C6D-4B1B-8F17-D81048501127}"/>
              </a:ext>
            </a:extLst>
          </p:cNvPr>
          <p:cNvSpPr>
            <a:spLocks noGrp="1"/>
          </p:cNvSpPr>
          <p:nvPr>
            <p:ph type="sldNum" sz="quarter" idx="10"/>
          </p:nvPr>
        </p:nvSpPr>
        <p:spPr/>
        <p:txBody>
          <a:bodyPr/>
          <a:lstStyle/>
          <a:p>
            <a:fld id="{35ACA335-37F7-42C7-872A-92C3D7072F89}" type="slidenum">
              <a:rPr lang="ru-RU" smtClean="0"/>
              <a:pPr/>
              <a:t>5</a:t>
            </a:fld>
            <a:endParaRPr lang="ru-RU" dirty="0"/>
          </a:p>
        </p:txBody>
      </p:sp>
      <p:sp>
        <p:nvSpPr>
          <p:cNvPr id="3" name="Заголовок 2">
            <a:extLst>
              <a:ext uri="{FF2B5EF4-FFF2-40B4-BE49-F238E27FC236}">
                <a16:creationId xmlns:a16="http://schemas.microsoft.com/office/drawing/2014/main" xmlns="" id="{C88448DE-898E-4950-9CCA-545BEF04D514}"/>
              </a:ext>
            </a:extLst>
          </p:cNvPr>
          <p:cNvSpPr>
            <a:spLocks noGrp="1"/>
          </p:cNvSpPr>
          <p:nvPr>
            <p:ph type="title"/>
          </p:nvPr>
        </p:nvSpPr>
        <p:spPr/>
        <p:txBody>
          <a:bodyPr/>
          <a:lstStyle/>
          <a:p>
            <a:r>
              <a:rPr lang="ru-RU" sz="2400" dirty="0"/>
              <a:t>Геодезические работы</a:t>
            </a:r>
            <a:endParaRPr lang="ru-RU" dirty="0"/>
          </a:p>
        </p:txBody>
      </p:sp>
      <p:sp>
        <p:nvSpPr>
          <p:cNvPr id="4" name="Текст 3">
            <a:extLst>
              <a:ext uri="{FF2B5EF4-FFF2-40B4-BE49-F238E27FC236}">
                <a16:creationId xmlns:a16="http://schemas.microsoft.com/office/drawing/2014/main" xmlns="" id="{819D752B-EF58-41F2-88AB-D0C6887E75E5}"/>
              </a:ext>
            </a:extLst>
          </p:cNvPr>
          <p:cNvSpPr>
            <a:spLocks noGrp="1"/>
          </p:cNvSpPr>
          <p:nvPr>
            <p:ph type="body" sz="quarter" idx="13"/>
          </p:nvPr>
        </p:nvSpPr>
        <p:spPr/>
        <p:txBody>
          <a:bodyPr/>
          <a:lstStyle/>
          <a:p>
            <a:pPr marL="0" indent="0">
              <a:buNone/>
            </a:pPr>
            <a:r>
              <a:rPr lang="ru-RU" sz="2400" dirty="0"/>
              <a:t>Геодезические работы – это значительная часть кадастровых работ, которые выполняются кадастровыми инженерами в процессе межевания и съемки контуров объектов недвижимости, выноса границ земельного участка в натуру. </a:t>
            </a:r>
          </a:p>
          <a:p>
            <a:pPr marL="0" indent="0">
              <a:buNone/>
            </a:pPr>
            <a:r>
              <a:rPr lang="ru-RU" sz="2400" dirty="0"/>
              <a:t>От правильности и точности геодезических (полевых) измерений зависит весь результат кадастровых работ, так как геодезические работы являются одним из начальных и самым ответственным этапом работы кадастрового инженера.</a:t>
            </a:r>
            <a:endParaRPr lang="uk-UA" sz="2400" dirty="0">
              <a:solidFill>
                <a:srgbClr val="0070C0"/>
              </a:solidFill>
            </a:endParaRPr>
          </a:p>
          <a:p>
            <a:endParaRPr lang="ru-RU" dirty="0"/>
          </a:p>
        </p:txBody>
      </p:sp>
      <p:pic>
        <p:nvPicPr>
          <p:cNvPr id="8" name="Рисунок 7">
            <a:extLst>
              <a:ext uri="{FF2B5EF4-FFF2-40B4-BE49-F238E27FC236}">
                <a16:creationId xmlns:a16="http://schemas.microsoft.com/office/drawing/2014/main" xmlns="" id="{21705514-F087-4B24-9825-FAFDA5762D09}"/>
              </a:ext>
            </a:extLst>
          </p:cNvPr>
          <p:cNvPicPr>
            <a:picLocks noChangeAspect="1"/>
          </p:cNvPicPr>
          <p:nvPr/>
        </p:nvPicPr>
        <p:blipFill>
          <a:blip r:embed="rId2"/>
          <a:stretch>
            <a:fillRect/>
          </a:stretch>
        </p:blipFill>
        <p:spPr>
          <a:xfrm>
            <a:off x="7943945" y="1526627"/>
            <a:ext cx="3804746" cy="3804746"/>
          </a:xfrm>
          <a:prstGeom prst="rect">
            <a:avLst/>
          </a:prstGeom>
        </p:spPr>
      </p:pic>
    </p:spTree>
    <p:extLst>
      <p:ext uri="{BB962C8B-B14F-4D97-AF65-F5344CB8AC3E}">
        <p14:creationId xmlns:p14="http://schemas.microsoft.com/office/powerpoint/2010/main" val="28877850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6</a:t>
            </a:fld>
            <a:endParaRPr lang="ru-RU" dirty="0"/>
          </a:p>
        </p:txBody>
      </p:sp>
      <p:sp>
        <p:nvSpPr>
          <p:cNvPr id="3" name="Заголовок 2"/>
          <p:cNvSpPr>
            <a:spLocks noGrp="1"/>
          </p:cNvSpPr>
          <p:nvPr>
            <p:ph type="title"/>
          </p:nvPr>
        </p:nvSpPr>
        <p:spPr/>
        <p:txBody>
          <a:bodyPr>
            <a:normAutofit/>
          </a:bodyPr>
          <a:lstStyle/>
          <a:p>
            <a:r>
              <a:rPr lang="ru-RU" dirty="0"/>
              <a:t>К исключительной компетенции кадастрового инженера относится:</a:t>
            </a:r>
          </a:p>
        </p:txBody>
      </p:sp>
      <p:sp>
        <p:nvSpPr>
          <p:cNvPr id="4" name="Текст 3"/>
          <p:cNvSpPr>
            <a:spLocks noGrp="1"/>
          </p:cNvSpPr>
          <p:nvPr>
            <p:ph type="body" sz="quarter" idx="11"/>
          </p:nvPr>
        </p:nvSpPr>
        <p:spPr>
          <a:xfrm>
            <a:off x="701086" y="1045853"/>
            <a:ext cx="8207784" cy="5080627"/>
          </a:xfrm>
        </p:spPr>
        <p:txBody>
          <a:bodyPr>
            <a:normAutofit lnSpcReduction="10000"/>
          </a:bodyPr>
          <a:lstStyle/>
          <a:p>
            <a:pPr marL="342900" lvl="0" indent="-342900" algn="just">
              <a:lnSpc>
                <a:spcPct val="110000"/>
              </a:lnSpc>
              <a:buClr>
                <a:srgbClr val="000000"/>
              </a:buClr>
              <a:buSzPts val="1200"/>
              <a:buFont typeface="Symbol" panose="05050102010706020507" pitchFamily="18" charset="2"/>
              <a:buChar char="-"/>
              <a:tabLst>
                <a:tab pos="488315" algn="l"/>
              </a:tabLst>
            </a:pPr>
            <a:r>
              <a:rPr lang="ru-RU" sz="2400" dirty="0">
                <a:latin typeface="Times New Roman" panose="02020603050405020304" pitchFamily="18" charset="0"/>
                <a:cs typeface="Times New Roman" panose="02020603050405020304" pitchFamily="18" charset="0"/>
              </a:rPr>
              <a:t>определение координат характерных точек границ объекта кадастровых работ (земельный участок, здание, сооружение, объект незавершенного строительства);</a:t>
            </a:r>
          </a:p>
          <a:p>
            <a:pPr marL="342900" lvl="0" indent="-342900" algn="just">
              <a:lnSpc>
                <a:spcPct val="110000"/>
              </a:lnSpc>
              <a:buClr>
                <a:srgbClr val="000000"/>
              </a:buClr>
              <a:buSzPts val="1200"/>
              <a:buFont typeface="Symbol" panose="05050102010706020507" pitchFamily="18" charset="2"/>
              <a:buChar char="-"/>
              <a:tabLst>
                <a:tab pos="488315" algn="l"/>
              </a:tabLst>
            </a:pPr>
            <a:r>
              <a:rPr lang="ru-RU" sz="2400" dirty="0">
                <a:latin typeface="Times New Roman" panose="02020603050405020304" pitchFamily="18" charset="0"/>
                <a:cs typeface="Times New Roman" panose="02020603050405020304" pitchFamily="18" charset="0"/>
              </a:rPr>
              <a:t>обработка результатов определения таких координат, в ходе которой определяется площадь объектов недвижимости;</a:t>
            </a:r>
          </a:p>
          <a:p>
            <a:endParaRPr lang="ru-RU" sz="2400" dirty="0">
              <a:latin typeface="Times New Roman" panose="02020603050405020304" pitchFamily="18" charset="0"/>
              <a:cs typeface="Times New Roman" panose="02020603050405020304" pitchFamily="18" charset="0"/>
            </a:endParaRPr>
          </a:p>
          <a:p>
            <a:pPr algn="just">
              <a:lnSpc>
                <a:spcPct val="110000"/>
              </a:lnSpc>
            </a:pPr>
            <a:r>
              <a:rPr lang="ru-RU" sz="2400" dirty="0">
                <a:latin typeface="Times New Roman" panose="02020603050405020304" pitchFamily="18" charset="0"/>
                <a:cs typeface="Times New Roman" panose="02020603050405020304" pitchFamily="18" charset="0"/>
              </a:rPr>
              <a:t>Все остальные сведения, необходимые для заполнения форм межевых, технических планов, берутся кадастровым инженером из документов, подготовленных иными органами и организациями, в том числе сведения о геодезической основе кадастровых работ.</a:t>
            </a:r>
          </a:p>
        </p:txBody>
      </p:sp>
      <p:pic>
        <p:nvPicPr>
          <p:cNvPr id="7" name="Рисунок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22376" y="1314173"/>
            <a:ext cx="2847801" cy="4812307"/>
          </a:xfrm>
          <a:prstGeom prst="rect">
            <a:avLst/>
          </a:prstGeom>
        </p:spPr>
      </p:pic>
      <p:sp>
        <p:nvSpPr>
          <p:cNvPr id="8" name="Скругленный прямоугольник 7"/>
          <p:cNvSpPr/>
          <p:nvPr/>
        </p:nvSpPr>
        <p:spPr>
          <a:xfrm>
            <a:off x="9222376" y="1314172"/>
            <a:ext cx="2847801" cy="4812307"/>
          </a:xfrm>
          <a:prstGeom prst="round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6900471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p:txBody>
          <a:bodyPr/>
          <a:lstStyle/>
          <a:p>
            <a:fld id="{35ACA335-37F7-42C7-872A-92C3D7072F89}" type="slidenum">
              <a:rPr lang="ru-RU" smtClean="0"/>
              <a:pPr/>
              <a:t>7</a:t>
            </a:fld>
            <a:endParaRPr lang="ru-RU" dirty="0"/>
          </a:p>
        </p:txBody>
      </p:sp>
      <p:sp>
        <p:nvSpPr>
          <p:cNvPr id="3" name="Заголовок 2"/>
          <p:cNvSpPr>
            <a:spLocks noGrp="1"/>
          </p:cNvSpPr>
          <p:nvPr>
            <p:ph type="title"/>
          </p:nvPr>
        </p:nvSpPr>
        <p:spPr/>
        <p:txBody>
          <a:bodyPr>
            <a:normAutofit fontScale="90000"/>
          </a:bodyPr>
          <a:lstStyle/>
          <a:p>
            <a:pPr>
              <a:lnSpc>
                <a:spcPct val="115000"/>
              </a:lnSpc>
              <a:spcAft>
                <a:spcPts val="1500"/>
              </a:spcAft>
            </a:pPr>
            <a:r>
              <a:rPr lang="ru-RU" sz="2400" b="1" dirty="0">
                <a:latin typeface="+mj-lt"/>
                <a:ea typeface="+mj-ea"/>
                <a:cs typeface="+mj-cs"/>
              </a:rPr>
              <a:t>Нормативное обеспечение подготовки межевых, технических планов</a:t>
            </a:r>
            <a:br>
              <a:rPr lang="ru-RU" sz="2400" b="1" dirty="0">
                <a:latin typeface="+mj-lt"/>
                <a:ea typeface="+mj-ea"/>
                <a:cs typeface="+mj-cs"/>
              </a:rPr>
            </a:br>
            <a:r>
              <a:rPr lang="ru-RU" sz="2400" b="1" dirty="0">
                <a:latin typeface="+mj-lt"/>
                <a:ea typeface="+mj-ea"/>
                <a:cs typeface="+mj-cs"/>
              </a:rPr>
              <a:t>при заполнении геодезической основы</a:t>
            </a:r>
          </a:p>
        </p:txBody>
      </p:sp>
      <p:sp>
        <p:nvSpPr>
          <p:cNvPr id="4" name="Текст 3"/>
          <p:cNvSpPr>
            <a:spLocks noGrp="1"/>
          </p:cNvSpPr>
          <p:nvPr>
            <p:ph type="body" sz="quarter" idx="11"/>
          </p:nvPr>
        </p:nvSpPr>
        <p:spPr>
          <a:xfrm>
            <a:off x="587374" y="945355"/>
            <a:ext cx="10899775" cy="5388775"/>
          </a:xfrm>
        </p:spPr>
        <p:txBody>
          <a:bodyPr>
            <a:normAutofit fontScale="92500" lnSpcReduction="10000"/>
          </a:bodyPr>
          <a:lstStyle/>
          <a:p>
            <a:pPr marL="342900" lvl="0" indent="-342900" algn="just">
              <a:lnSpc>
                <a:spcPct val="115000"/>
              </a:lnSpc>
              <a:buClr>
                <a:srgbClr val="000000"/>
              </a:buClr>
              <a:buSzPts val="1200"/>
              <a:buFont typeface="+mj-lt"/>
              <a:buAutoNum type="arabicParenR"/>
              <a:tabLst>
                <a:tab pos="892175" algn="l"/>
              </a:tabLst>
            </a:pP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Федеральный закон от 30.12.2015 № 431-ФЗ «О геодезии, картографии и пространственных данных и о внесении изменений в отдельные законодательные акты Российской Федерации» (далее - Закон о геодезии);</a:t>
            </a:r>
            <a:endParaRPr lang="ru-RU" sz="18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892175" algn="l"/>
              </a:tabLst>
            </a:pP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Федеральный закон от 26.06.2008 N 102-ФЗ «Об обеспечении единства измерений» (далее - Закон о единстве измерений);</a:t>
            </a:r>
            <a:endParaRPr lang="ru-RU" sz="18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892175" algn="l"/>
              </a:tabLst>
            </a:pP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Постановления Правительства РФ от 04.03.2017 № 262 «Об утверждении Правил предоставления пространственных данных и материалов, содержащихся в государственных фондах пространственных данных, в том числе правил подачи заявления о предоставлении указанных пространственных данных и материалов, включая форму такого заявления и состав прилагаемых к нему документов» (далее - Постановление № 262);</a:t>
            </a:r>
            <a:endParaRPr lang="ru-RU" sz="18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892175" algn="l"/>
              </a:tabLst>
            </a:pPr>
            <a:r>
              <a:rPr lang="ru-RU" sz="1800" dirty="0">
                <a:latin typeface="Times New Roman" panose="02020603050405020304" pitchFamily="18" charset="0"/>
                <a:cs typeface="Times New Roman" panose="02020603050405020304" pitchFamily="18" charset="0"/>
              </a:rPr>
              <a:t>Приказ Росреестра от 14.12.2021 № П/0592 «Об утверждении формы и состава сведений межевого плана, требований к его подготовке» </a:t>
            </a: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далее - Приказ № П/0592);</a:t>
            </a:r>
            <a:endParaRPr lang="ru-RU" sz="18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892175" algn="l"/>
              </a:tabLst>
            </a:pPr>
            <a:r>
              <a:rPr lang="ru-RU" sz="1800" dirty="0">
                <a:latin typeface="Times New Roman" panose="02020603050405020304" pitchFamily="18" charset="0"/>
                <a:cs typeface="Times New Roman" panose="02020603050405020304" pitchFamily="18" charset="0"/>
              </a:rPr>
              <a:t>Приказ Росреестра от 15.03.2022 № П/0082 «Об установлении формы технического плана, требований к его подготовке и состава содержащихся в нем сведений»  (далее - Приказ № П/0082</a:t>
            </a: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a:t>
            </a:r>
            <a:endParaRPr lang="ru-RU" sz="18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892175" algn="l"/>
              </a:tabLst>
            </a:pP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Приказ Росреестра от 23.10.2020 № П/0393 «Об утверждении требований к точности и методам определения координат характерных точек границ земельного участка, требований к точности и методам определения координат характерных точек контура здания, сооружения или объекта незавершенного строительства на земельном участке, а также требований к определению площади здания, сооружения, помещения, </a:t>
            </a:r>
            <a:r>
              <a:rPr lang="ru-RU" sz="1800" u="none" strike="noStrike" spc="0" dirty="0" err="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машино</a:t>
            </a:r>
            <a:r>
              <a:rPr lang="ru-RU" sz="18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места» (далее - Приказ № П/393).</a:t>
            </a:r>
            <a:endParaRPr lang="ru-RU" sz="18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ru-RU" b="1" dirty="0"/>
          </a:p>
          <a:p>
            <a:endParaRPr lang="ru-RU" dirty="0"/>
          </a:p>
        </p:txBody>
      </p:sp>
      <p:sp>
        <p:nvSpPr>
          <p:cNvPr id="7" name="Rectangle 2">
            <a:extLst>
              <a:ext uri="{FF2B5EF4-FFF2-40B4-BE49-F238E27FC236}">
                <a16:creationId xmlns:a16="http://schemas.microsoft.com/office/drawing/2014/main" xmlns="" id="{58337EE2-F71B-41A0-AED2-26AD59AB5C3C}"/>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
        <p:nvSpPr>
          <p:cNvPr id="8" name="Shape 1">
            <a:extLst>
              <a:ext uri="{FF2B5EF4-FFF2-40B4-BE49-F238E27FC236}">
                <a16:creationId xmlns:a16="http://schemas.microsoft.com/office/drawing/2014/main" xmlns="" id="{099F7AD7-1191-4E9C-AA3E-E1FE8049B702}"/>
              </a:ext>
            </a:extLst>
          </p:cNvPr>
          <p:cNvSpPr txBox="1">
            <a:spLocks noChangeArrowheads="1"/>
          </p:cNvSpPr>
          <p:nvPr/>
        </p:nvSpPr>
        <p:spPr bwMode="auto">
          <a:xfrm>
            <a:off x="6229350" y="6060663"/>
            <a:ext cx="1290637"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marL="0" marR="0" lvl="0" indent="254000" algn="l" defTabSz="914400" rtl="0" eaLnBrk="0" fontAlgn="base" latinLnBrk="0" hangingPunct="0">
              <a:lnSpc>
                <a:spcPct val="100000"/>
              </a:lnSpc>
              <a:spcBef>
                <a:spcPct val="0"/>
              </a:spcBef>
              <a:spcAft>
                <a:spcPct val="0"/>
              </a:spcAft>
              <a:buClrTx/>
              <a:buSzTx/>
              <a:buFontTx/>
              <a:buNone/>
              <a:tabLst/>
            </a:pPr>
            <a:endParaRPr kumimoji="0" lang="ru-RU" altLang="ru-RU"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993208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35ACA335-37F7-42C7-872A-92C3D7072F89}" type="slidenum">
              <a:rPr lang="ru-RU" smtClean="0"/>
              <a:pPr/>
              <a:t>8</a:t>
            </a:fld>
            <a:endParaRPr lang="ru-RU" dirty="0"/>
          </a:p>
        </p:txBody>
      </p:sp>
      <p:sp>
        <p:nvSpPr>
          <p:cNvPr id="7" name="Текст 6"/>
          <p:cNvSpPr>
            <a:spLocks noGrp="1"/>
          </p:cNvSpPr>
          <p:nvPr>
            <p:ph type="body" sz="quarter" idx="13"/>
          </p:nvPr>
        </p:nvSpPr>
        <p:spPr>
          <a:xfrm>
            <a:off x="472018" y="1121254"/>
            <a:ext cx="6860115" cy="5235099"/>
          </a:xfrm>
        </p:spPr>
        <p:txBody>
          <a:bodyPr>
            <a:normAutofit/>
          </a:bodyPr>
          <a:lstStyle/>
          <a:p>
            <a:pPr indent="0" algn="just">
              <a:lnSpc>
                <a:spcPct val="115000"/>
              </a:lnSpc>
              <a:buNone/>
            </a:pPr>
            <a:r>
              <a:rPr lang="ru-RU" sz="1900" dirty="0">
                <a:solidFill>
                  <a:srgbClr val="000000"/>
                </a:solidFill>
                <a:effectLst/>
                <a:latin typeface="Times New Roman" panose="02020603050405020304" pitchFamily="18" charset="0"/>
                <a:ea typeface="Times New Roman" panose="02020603050405020304" pitchFamily="18" charset="0"/>
              </a:rPr>
              <a:t>Согласно Приказу № П/393 координаты характерных точек объектов недвижимости определяются следующими методами:</a:t>
            </a:r>
            <a:endParaRPr lang="ru-RU" sz="1900" dirty="0">
              <a:effectLst/>
              <a:latin typeface="Times New Roman" panose="02020603050405020304" pitchFamily="18" charset="0"/>
              <a:ea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572770" algn="l"/>
              </a:tabLst>
            </a:pPr>
            <a:r>
              <a:rPr lang="ru-RU" sz="19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геодезический метод (полигонометрия, прямые, обратные или комбинированные засечки и иные геодезические методы);</a:t>
            </a:r>
            <a:endParaRPr lang="ru-RU" sz="19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596265" algn="l"/>
              </a:tabLst>
            </a:pPr>
            <a:r>
              <a:rPr lang="ru-RU" sz="19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метод спутниковых геодезических измерений (определений);</a:t>
            </a:r>
            <a:endParaRPr lang="ru-RU" sz="19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569595" algn="l"/>
              </a:tabLst>
            </a:pPr>
            <a:r>
              <a:rPr lang="ru-RU" sz="19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комбинированный метод (сочетание геодезического метода и метода спутниковых геодезических измерений (определений);</a:t>
            </a:r>
            <a:endParaRPr lang="ru-RU" sz="19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596265" algn="l"/>
              </a:tabLst>
            </a:pPr>
            <a:r>
              <a:rPr lang="ru-RU" sz="19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фотограмметрический метод;</a:t>
            </a:r>
            <a:endParaRPr lang="ru-RU" sz="19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596265" algn="l"/>
              </a:tabLst>
            </a:pPr>
            <a:r>
              <a:rPr lang="ru-RU" sz="19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картометрический метод;</a:t>
            </a:r>
            <a:endParaRPr lang="ru-RU" sz="19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just">
              <a:lnSpc>
                <a:spcPct val="115000"/>
              </a:lnSpc>
              <a:buClr>
                <a:srgbClr val="000000"/>
              </a:buClr>
              <a:buSzPts val="1200"/>
              <a:buFont typeface="+mj-lt"/>
              <a:buAutoNum type="arabicParenR"/>
              <a:tabLst>
                <a:tab pos="596265" algn="l"/>
              </a:tabLst>
            </a:pPr>
            <a:r>
              <a:rPr lang="ru-RU" sz="1900" u="none" strike="noStrike" spc="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аналитический метод.</a:t>
            </a:r>
            <a:endParaRPr lang="ru-RU" sz="1900" u="none" strike="noStrike" spc="0"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ru-RU" dirty="0"/>
          </a:p>
        </p:txBody>
      </p:sp>
      <p:sp>
        <p:nvSpPr>
          <p:cNvPr id="11" name="Заголовок 2">
            <a:extLst>
              <a:ext uri="{FF2B5EF4-FFF2-40B4-BE49-F238E27FC236}">
                <a16:creationId xmlns:a16="http://schemas.microsoft.com/office/drawing/2014/main" xmlns="" id="{120EB2A7-B220-47ED-AAE4-D1A8F0606477}"/>
              </a:ext>
            </a:extLst>
          </p:cNvPr>
          <p:cNvSpPr>
            <a:spLocks noGrp="1"/>
          </p:cNvSpPr>
          <p:nvPr>
            <p:ph type="title"/>
          </p:nvPr>
        </p:nvSpPr>
        <p:spPr>
          <a:xfrm>
            <a:off x="962025" y="4"/>
            <a:ext cx="10534651" cy="838199"/>
          </a:xfrm>
        </p:spPr>
        <p:txBody>
          <a:bodyPr>
            <a:normAutofit/>
          </a:bodyPr>
          <a:lstStyle/>
          <a:p>
            <a:r>
              <a:rPr lang="ru-RU" dirty="0"/>
              <a:t>Методы определения координат:</a:t>
            </a:r>
          </a:p>
        </p:txBody>
      </p:sp>
      <p:pic>
        <p:nvPicPr>
          <p:cNvPr id="2" name="Рисунок 1">
            <a:extLst>
              <a:ext uri="{FF2B5EF4-FFF2-40B4-BE49-F238E27FC236}">
                <a16:creationId xmlns:a16="http://schemas.microsoft.com/office/drawing/2014/main" xmlns="" id="{64E12A1F-C752-455D-9EA9-4E3FDE6B74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1506" y="2258754"/>
            <a:ext cx="3493294" cy="2709838"/>
          </a:xfrm>
          <a:prstGeom prst="rect">
            <a:avLst/>
          </a:prstGeom>
        </p:spPr>
      </p:pic>
      <p:sp>
        <p:nvSpPr>
          <p:cNvPr id="4" name="Прямоугольник 3">
            <a:extLst>
              <a:ext uri="{FF2B5EF4-FFF2-40B4-BE49-F238E27FC236}">
                <a16:creationId xmlns:a16="http://schemas.microsoft.com/office/drawing/2014/main" xmlns="" id="{CE5E6C7F-08B3-4E14-B4BE-C6EF2D23076A}"/>
              </a:ext>
            </a:extLst>
          </p:cNvPr>
          <p:cNvSpPr/>
          <p:nvPr/>
        </p:nvSpPr>
        <p:spPr>
          <a:xfrm>
            <a:off x="8241506" y="2258754"/>
            <a:ext cx="3478476" cy="2700602"/>
          </a:xfrm>
          <a:prstGeom prst="rect">
            <a:avLst/>
          </a:prstGeom>
          <a:noFill/>
          <a:ln w="38100" cmpd="tri">
            <a:gradFill>
              <a:gsLst>
                <a:gs pos="5000">
                  <a:schemeClr val="accent1">
                    <a:lumMod val="5000"/>
                    <a:lumOff val="95000"/>
                  </a:schemeClr>
                </a:gs>
                <a:gs pos="47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7173433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C5D8B17D-11C1-42C5-A069-53E3642F19D8}"/>
              </a:ext>
            </a:extLst>
          </p:cNvPr>
          <p:cNvSpPr>
            <a:spLocks noGrp="1"/>
          </p:cNvSpPr>
          <p:nvPr>
            <p:ph type="sldNum" sz="quarter" idx="10"/>
          </p:nvPr>
        </p:nvSpPr>
        <p:spPr/>
        <p:txBody>
          <a:bodyPr/>
          <a:lstStyle/>
          <a:p>
            <a:fld id="{35ACA335-37F7-42C7-872A-92C3D7072F89}" type="slidenum">
              <a:rPr lang="ru-RU" smtClean="0"/>
              <a:pPr/>
              <a:t>9</a:t>
            </a:fld>
            <a:endParaRPr lang="ru-RU" dirty="0"/>
          </a:p>
        </p:txBody>
      </p:sp>
      <p:sp>
        <p:nvSpPr>
          <p:cNvPr id="4" name="Текст 3">
            <a:extLst>
              <a:ext uri="{FF2B5EF4-FFF2-40B4-BE49-F238E27FC236}">
                <a16:creationId xmlns:a16="http://schemas.microsoft.com/office/drawing/2014/main" xmlns="" id="{DF60788E-8444-4013-B8EF-2E8375543BA6}"/>
              </a:ext>
            </a:extLst>
          </p:cNvPr>
          <p:cNvSpPr>
            <a:spLocks noGrp="1"/>
          </p:cNvSpPr>
          <p:nvPr>
            <p:ph type="body" sz="quarter" idx="11"/>
          </p:nvPr>
        </p:nvSpPr>
        <p:spPr>
          <a:xfrm>
            <a:off x="377371" y="4528457"/>
            <a:ext cx="11263086" cy="1973943"/>
          </a:xfrm>
        </p:spPr>
        <p:txBody>
          <a:bodyPr>
            <a:normAutofit fontScale="85000" lnSpcReduction="10000"/>
          </a:bodyPr>
          <a:lstStyle/>
          <a:p>
            <a:r>
              <a:rPr lang="ru-RU" sz="2800" dirty="0"/>
              <a:t>	Сегодня для определения границ земельных участков применяются высокоточные геодезические приборы, в том числе спутниковые приемники.</a:t>
            </a:r>
            <a:br>
              <a:rPr lang="ru-RU" sz="2800" dirty="0"/>
            </a:br>
            <a:r>
              <a:rPr lang="ru-RU" sz="2800" dirty="0"/>
              <a:t>	</a:t>
            </a:r>
          </a:p>
          <a:p>
            <a:r>
              <a:rPr lang="ru-RU" dirty="0"/>
              <a:t>	</a:t>
            </a:r>
            <a:r>
              <a:rPr lang="ru-RU" sz="2800" dirty="0"/>
              <a:t>На первый взгляд они просты в использовании, имеют удобный интерфейс, но требуют определенных навыков и знаний в области геодезии. </a:t>
            </a:r>
            <a:endParaRPr lang="ru-RU" dirty="0"/>
          </a:p>
        </p:txBody>
      </p:sp>
      <p:pic>
        <p:nvPicPr>
          <p:cNvPr id="6" name="Рисунок 5">
            <a:extLst>
              <a:ext uri="{FF2B5EF4-FFF2-40B4-BE49-F238E27FC236}">
                <a16:creationId xmlns:a16="http://schemas.microsoft.com/office/drawing/2014/main" xmlns="" id="{541CA051-81A4-4B73-83AB-68C696C2D4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0548" y="158745"/>
            <a:ext cx="8108035" cy="4196344"/>
          </a:xfrm>
          <a:prstGeom prst="rect">
            <a:avLst/>
          </a:prstGeom>
        </p:spPr>
      </p:pic>
    </p:spTree>
    <p:extLst>
      <p:ext uri="{BB962C8B-B14F-4D97-AF65-F5344CB8AC3E}">
        <p14:creationId xmlns:p14="http://schemas.microsoft.com/office/powerpoint/2010/main" val="38460585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OfFxfa5XiVz4u4QoBMtQ"/>
</p:tagLst>
</file>

<file path=ppt/theme/theme1.xml><?xml version="1.0" encoding="utf-8"?>
<a:theme xmlns:a="http://schemas.openxmlformats.org/drawingml/2006/main" name="Office Theme">
  <a:themeElements>
    <a:clrScheme name="rosreestr_color_theme">
      <a:dk1>
        <a:srgbClr val="008CFF"/>
      </a:dk1>
      <a:lt1>
        <a:srgbClr val="FFFFFF"/>
      </a:lt1>
      <a:dk2>
        <a:srgbClr val="008CFF"/>
      </a:dk2>
      <a:lt2>
        <a:srgbClr val="FFFFFF"/>
      </a:lt2>
      <a:accent1>
        <a:srgbClr val="008CFF"/>
      </a:accent1>
      <a:accent2>
        <a:srgbClr val="4FA730"/>
      </a:accent2>
      <a:accent3>
        <a:srgbClr val="E17900"/>
      </a:accent3>
      <a:accent4>
        <a:srgbClr val="85C0FB"/>
      </a:accent4>
      <a:accent5>
        <a:srgbClr val="92D050"/>
      </a:accent5>
      <a:accent6>
        <a:srgbClr val="FFC000"/>
      </a:accent6>
      <a:hlink>
        <a:srgbClr val="E17900"/>
      </a:hlink>
      <a:folHlink>
        <a:srgbClr val="4472C4"/>
      </a:folHlink>
    </a:clrScheme>
    <a:fontScheme name="rosreestr_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Документ" ma:contentTypeID="0x010100B42CC4482C5DE94FA46513EB72EDE1D4" ma:contentTypeVersion="2" ma:contentTypeDescription="Создание документа." ma:contentTypeScope="" ma:versionID="62d1be16176e7f85039dac8e38a5e444">
  <xsd:schema xmlns:xsd="http://www.w3.org/2001/XMLSchema" xmlns:p="http://schemas.microsoft.com/office/2006/metadata/properties" xmlns:ns2="1fc690b3-c882-4850-8cc6-f4246920bee6" targetNamespace="http://schemas.microsoft.com/office/2006/metadata/properties" ma:root="true" ma:fieldsID="0d455962856e25ccf4ccdbec88adc14e" ns2:_="">
    <xsd:import namespace="1fc690b3-c882-4850-8cc6-f4246920bee6"/>
    <xsd:element name="properties">
      <xsd:complexType>
        <xsd:sequence>
          <xsd:element name="documentManagement">
            <xsd:complexType>
              <xsd:all>
                <xsd:element ref="ns2:_x2116_" minOccurs="0"/>
                <xsd:element ref="ns2:_x041d__x0430__x0438__x043c__x0435__x043d__x043e__x0432__x0435__x043d__x0438__x0435__x0020__x0434__x043e__x043a__x0443__x043c__x0435__x043d__x0442__x0430_"/>
              </xsd:all>
            </xsd:complexType>
          </xsd:element>
        </xsd:sequence>
      </xsd:complexType>
    </xsd:element>
  </xsd:schema>
  <xsd:schema xmlns:xsd="http://www.w3.org/2001/XMLSchema" xmlns:dms="http://schemas.microsoft.com/office/2006/documentManagement/types" targetNamespace="1fc690b3-c882-4850-8cc6-f4246920bee6" elementFormDefault="qualified">
    <xsd:import namespace="http://schemas.microsoft.com/office/2006/documentManagement/types"/>
    <xsd:element name="_x2116_" ma:index="8" nillable="true" ma:displayName="№" ma:decimals="0" ma:internalName="_x2116_">
      <xsd:simpleType>
        <xsd:restriction base="dms:Number"/>
      </xsd:simpleType>
    </xsd:element>
    <xsd:element name="_x041d__x0430__x0438__x043c__x0435__x043d__x043e__x0432__x0435__x043d__x0438__x0435__x0020__x0434__x043e__x043a__x0443__x043c__x0435__x043d__x0442__x0430_" ma:index="9" ma:displayName="Наименовение документа" ma:default="" ma:internalName="_x041d__x0430__x0438__x043c__x0435__x043d__x043e__x0432__x0435__x043d__x0438__x0435__x0020__x0434__x043e__x043a__x0443__x043c__x0435__x043d__x0442__x0430_">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содержимого" ma:readOnly="true"/>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_x2116_ xmlns="1fc690b3-c882-4850-8cc6-f4246920bee6" xsi:nil="true"/>
    <_x041d__x0430__x0438__x043c__x0435__x043d__x043e__x0432__x0435__x043d__x0438__x0435__x0020__x0434__x043e__x043a__x0443__x043c__x0435__x043d__x0442__x0430_ xmlns="1fc690b3-c882-4850-8cc6-f4246920bee6">Презентация</_x041d__x0430__x0438__x043c__x0435__x043d__x043e__x0432__x0435__x043d__x0438__x0435__x0020__x0434__x043e__x043a__x0443__x043c__x0435__x043d__x0442__x0430_>
  </documentManagement>
</p:properties>
</file>

<file path=customXml/itemProps1.xml><?xml version="1.0" encoding="utf-8"?>
<ds:datastoreItem xmlns:ds="http://schemas.openxmlformats.org/officeDocument/2006/customXml" ds:itemID="{D41D02B4-5B18-4FC7-AE6C-5477F2319014}">
  <ds:schemaRefs>
    <ds:schemaRef ds:uri="http://schemas.microsoft.com/sharepoint/v3/contenttype/forms"/>
  </ds:schemaRefs>
</ds:datastoreItem>
</file>

<file path=customXml/itemProps2.xml><?xml version="1.0" encoding="utf-8"?>
<ds:datastoreItem xmlns:ds="http://schemas.openxmlformats.org/officeDocument/2006/customXml" ds:itemID="{0656AD10-A218-4011-B6AC-71CE92E054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fc690b3-c882-4850-8cc6-f4246920bee6"/>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F78A8D71-C7DB-44E4-8053-13FEF451670C}">
  <ds:schemaRefs>
    <ds:schemaRef ds:uri="1fc690b3-c882-4850-8cc6-f4246920bee6"/>
    <ds:schemaRef ds:uri="http://www.w3.org/XML/1998/namespace"/>
    <ds:schemaRef ds:uri="http://purl.org/dc/term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76</TotalTime>
  <Words>2050</Words>
  <Application>Microsoft Office PowerPoint</Application>
  <PresentationFormat>Широкоэкранный</PresentationFormat>
  <Paragraphs>260</Paragraphs>
  <Slides>36</Slides>
  <Notes>0</Notes>
  <HiddenSlides>0</HiddenSlides>
  <MMClips>0</MMClips>
  <ScaleCrop>false</ScaleCrop>
  <HeadingPairs>
    <vt:vector size="8" baseType="variant">
      <vt:variant>
        <vt:lpstr>Использованные шрифты</vt:lpstr>
      </vt:variant>
      <vt:variant>
        <vt:i4>7</vt:i4>
      </vt:variant>
      <vt:variant>
        <vt:lpstr>Тема</vt:lpstr>
      </vt:variant>
      <vt:variant>
        <vt:i4>1</vt:i4>
      </vt:variant>
      <vt:variant>
        <vt:lpstr>Внедренные серверы OLE</vt:lpstr>
      </vt:variant>
      <vt:variant>
        <vt:i4>1</vt:i4>
      </vt:variant>
      <vt:variant>
        <vt:lpstr>Заголовки слайдов</vt:lpstr>
      </vt:variant>
      <vt:variant>
        <vt:i4>36</vt:i4>
      </vt:variant>
    </vt:vector>
  </HeadingPairs>
  <TitlesOfParts>
    <vt:vector size="45" baseType="lpstr">
      <vt:lpstr>Arial</vt:lpstr>
      <vt:lpstr>Calibri</vt:lpstr>
      <vt:lpstr>Segoe UI Symbol</vt:lpstr>
      <vt:lpstr>Symbol</vt:lpstr>
      <vt:lpstr>Times New Roman</vt:lpstr>
      <vt:lpstr>Trebuchet MS</vt:lpstr>
      <vt:lpstr>Wingdings</vt:lpstr>
      <vt:lpstr>Office Theme</vt:lpstr>
      <vt:lpstr>think-cell Slide</vt:lpstr>
      <vt:lpstr>ЗАПОЛНЕНИЕ СВЕДЕНИЙ О ГЕОДЕЗИЧЕСКОЙ ОСНОВЕ В ФОРМАХ МЕЖЕВЫХ, ТЕХНИЧЕСКИХ ПЛАНОВ</vt:lpstr>
      <vt:lpstr>Геодезическая основа кадастра недвижимости</vt:lpstr>
      <vt:lpstr>Информация о геодезическом обеспечении на территорию Ленинградской области</vt:lpstr>
      <vt:lpstr>Геодезические пункты - примеры</vt:lpstr>
      <vt:lpstr>Геодезические работы</vt:lpstr>
      <vt:lpstr>К исключительной компетенции кадастрового инженера относится:</vt:lpstr>
      <vt:lpstr>Нормативное обеспечение подготовки межевых, технических планов при заполнении геодезической основы</vt:lpstr>
      <vt:lpstr>Методы определения координат:</vt:lpstr>
      <vt:lpstr>Презентация PowerPoint</vt:lpstr>
      <vt:lpstr>Пункты государственной геодезической сети </vt:lpstr>
      <vt:lpstr>Пункты ОМС не используются при геодезических работах</vt:lpstr>
      <vt:lpstr>ОМС в действующем законодательстве</vt:lpstr>
      <vt:lpstr>ОШИБКА</vt:lpstr>
      <vt:lpstr>Кадастровый план территории не является источником сведений об исходных пунктах </vt:lpstr>
      <vt:lpstr>Получение выписки из каталога координат пунктов государственной геодезической сети</vt:lpstr>
      <vt:lpstr>Поисковая система пунктов ГГС</vt:lpstr>
      <vt:lpstr>Оформляем заявку</vt:lpstr>
      <vt:lpstr>Вводим реквизиты юридического или физического лица</vt:lpstr>
      <vt:lpstr>Условия использования материалов</vt:lpstr>
      <vt:lpstr>Презентация PowerPoint</vt:lpstr>
      <vt:lpstr>ТИПИЧНЫЕ ОШИБКИ, ДОПУСКАЕМЫЕ КАДАСТРОВЫМИ ИНЖЕНЕРАМИ ПРИ ЗАПОЛНЕНИИ ФОРМ МЕЖЕВЫХ И ТЕХНИЧЕСКИХ ПЛАНОВ</vt:lpstr>
      <vt:lpstr>Реквизит 1 раздела «Исходные данные» </vt:lpstr>
      <vt:lpstr>Геодезическое обоснование кадастровых работ при определении координат непосредственно от пунктов ГГС</vt:lpstr>
      <vt:lpstr>Сеть дифференциальных станций (ДГС)</vt:lpstr>
      <vt:lpstr>В разделе «Исходные данные» отсутствует (не полное указание) наименование и реквизиты документа о предоставлении данных, находящихся в федеральном фонде пространственных данных, либо указаны реквизиты документа, по которому срок пользования данными окончен</vt:lpstr>
      <vt:lpstr>Сведения о геодезической основе</vt:lpstr>
      <vt:lpstr>При выполнении кадастровых работ использовано недостаточное количество пунктов государственной геодезической сети или опорной межевой сети (должно быть не менее 3 пунктов геодезической сети, у которых состояние центра знака и марки в графах 7 и 8 «сохранился»)</vt:lpstr>
      <vt:lpstr>Обследование пунктов ГГС</vt:lpstr>
      <vt:lpstr>Сведения об использованной аппаратуре </vt:lpstr>
      <vt:lpstr>Геодезическое обоснование кадастровых работ при определении координат непосредственно от пунктов ГГС</vt:lpstr>
      <vt:lpstr> Федеральная государственная система Росстандарта </vt:lpstr>
      <vt:lpstr>Презентация PowerPoint</vt:lpstr>
      <vt:lpstr>В реквизите «3» раздела «Исходные данные» указаны реквизиты свидетельства о поверке с истекшим сроком действия, не указана дата проведения поверки</vt:lpstr>
      <vt:lpstr>Раздел «Схема геодезических построений» оформлена не в соответствии с требованиями (не указано расстояние от базовых станций до ближайшей характерной точки объекта кадастровых  работ и (или) схематичное изображение объекта кадастровых работ)</vt:lpstr>
      <vt:lpstr>Схема геодезических построений</vt:lpstr>
      <vt:lpstr>Спасибо за внимание!</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О ведении и хранении реестровых дел, документов ГФДЗ и иных документов</dc:title>
  <dc:creator>Кудрявцева Оксана Игоревна</dc:creator>
  <cp:lastModifiedBy>Дарья Юрьевна Сердцева</cp:lastModifiedBy>
  <cp:revision>213</cp:revision>
  <cp:lastPrinted>2022-09-20T11:15:41Z</cp:lastPrinted>
  <dcterms:created xsi:type="dcterms:W3CDTF">2022-04-04T11:59:06Z</dcterms:created>
  <dcterms:modified xsi:type="dcterms:W3CDTF">2022-09-22T05:5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2CC4482C5DE94FA46513EB72EDE1D4</vt:lpwstr>
  </property>
</Properties>
</file>